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91" r:id="rId6"/>
  </p:sldMasterIdLst>
  <p:notesMasterIdLst>
    <p:notesMasterId r:id="rId19"/>
  </p:notesMasterIdLst>
  <p:handoutMasterIdLst>
    <p:handoutMasterId r:id="rId20"/>
  </p:handoutMasterIdLst>
  <p:sldIdLst>
    <p:sldId id="752" r:id="rId7"/>
    <p:sldId id="753" r:id="rId8"/>
    <p:sldId id="768" r:id="rId9"/>
    <p:sldId id="742" r:id="rId10"/>
    <p:sldId id="740" r:id="rId11"/>
    <p:sldId id="741" r:id="rId12"/>
    <p:sldId id="743" r:id="rId13"/>
    <p:sldId id="774" r:id="rId14"/>
    <p:sldId id="746" r:id="rId15"/>
    <p:sldId id="764" r:id="rId16"/>
    <p:sldId id="766" r:id="rId17"/>
    <p:sldId id="755" r:id="rId18"/>
  </p:sldIdLst>
  <p:sldSz cx="12192000" cy="6858000"/>
  <p:notesSz cx="6735763" cy="9799638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Martynenko" initials="AM" lastIdx="1" clrIdx="0">
    <p:extLst>
      <p:ext uri="{19B8F6BF-5375-455C-9EA6-DF929625EA0E}">
        <p15:presenceInfo xmlns:p15="http://schemas.microsoft.com/office/powerpoint/2012/main" userId="S-1-5-21-3886516207-614674104-608788231-146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9515"/>
    <a:srgbClr val="DB700F"/>
    <a:srgbClr val="FBFBFB"/>
    <a:srgbClr val="008E22"/>
    <a:srgbClr val="797600"/>
    <a:srgbClr val="BFBD00"/>
    <a:srgbClr val="004A12"/>
    <a:srgbClr val="00D633"/>
    <a:srgbClr val="93FF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07" autoAdjust="0"/>
    <p:restoredTop sz="94651" autoAdjust="0"/>
  </p:normalViewPr>
  <p:slideViewPr>
    <p:cSldViewPr snapToGrid="0" showGuides="1">
      <p:cViewPr varScale="1">
        <p:scale>
          <a:sx n="110" d="100"/>
          <a:sy n="110" d="100"/>
        </p:scale>
        <p:origin x="480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68768768768769"/>
          <c:y val="0.10915492957746478"/>
          <c:w val="0.44624624624624626"/>
          <c:h val="0.81514084507042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C90-497F-B337-C43E8B196D80}"/>
              </c:ext>
            </c:extLst>
          </c:dPt>
          <c:dLbls>
            <c:dLbl>
              <c:idx val="0"/>
              <c:layout>
                <c:manualLayout>
                  <c:x val="0"/>
                  <c:y val="-0.4301643192488263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C90-497F-B337-C43E8B196D80}"/>
                </c:ext>
              </c:extLst>
            </c:dLbl>
            <c:dLbl>
              <c:idx val="1"/>
              <c:layout>
                <c:manualLayout>
                  <c:x val="0"/>
                  <c:y val="-0.4407276995305164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C90-497F-B337-C43E8B196D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522.5</c:v>
                </c:pt>
                <c:pt idx="1">
                  <c:v>362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90-497F-B337-C43E8B196D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8171560"/>
        <c:axId val="1"/>
      </c:barChart>
      <c:catAx>
        <c:axId val="8381715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21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38171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5410764872521244"/>
          <c:y val="6.1959654178674349E-2"/>
          <c:w val="0.29121813031161475"/>
          <c:h val="0.876080691642651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74-4F88-8541-5800E194F356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606147934678193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0E74-4F88-8541-5800E194F35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558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E74-4F88-8541-5800E194F3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5339128"/>
        <c:axId val="1"/>
      </c:barChart>
      <c:catAx>
        <c:axId val="1025339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836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53391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9463806970509385"/>
          <c:y val="0.18883248730964466"/>
          <c:w val="0.21018766756032173"/>
          <c:h val="0.680203045685279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979695431472081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873B-48A3-9700-87CC4A90D2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6485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3B-48A3-9700-87CC4A90D2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6367112"/>
        <c:axId val="1"/>
      </c:barChart>
      <c:catAx>
        <c:axId val="7763671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485.1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63671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3047210300429186"/>
          <c:y val="0.27514792899408286"/>
          <c:w val="0.33819742489270388"/>
          <c:h val="0.534023668639053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50591715976331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45F7-4C9E-9EF7-E159E85A1E9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98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5F7-4C9E-9EF7-E159E85A1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5242696"/>
        <c:axId val="1"/>
      </c:barChart>
      <c:catAx>
        <c:axId val="10252426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8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52426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329758713136728"/>
          <c:y val="0.19766206163655686"/>
          <c:w val="0.41340482573726539"/>
          <c:h val="0.665249734325185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262486716259298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8525-449A-84F3-FF1E036311A4}"/>
                </c:ext>
              </c:extLst>
            </c:dLbl>
            <c:dLbl>
              <c:idx val="1"/>
              <c:layout>
                <c:manualLayout>
                  <c:x val="0"/>
                  <c:y val="-0.39319872476089268"/>
                </c:manualLayout>
              </c:layout>
              <c:numFmt formatCode="0.00;&quot;-&quot;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8525-449A-84F3-FF1E036311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761.4</c:v>
                </c:pt>
                <c:pt idx="1">
                  <c:v>723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25-449A-84F3-FF1E036311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6357272"/>
        <c:axId val="1"/>
      </c:barChart>
      <c:catAx>
        <c:axId val="7763572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30.3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63572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399781540142E-2"/>
          <c:y val="7.0108695652173911E-2"/>
          <c:w val="0.943200436919716"/>
          <c:h val="0.8597826086956521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203.7877758913673</c:v>
                </c:pt>
                <c:pt idx="1">
                  <c:v>1258.3938879456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C0-4923-BF49-60ABF29C3BD6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539.7877758913673</c:v>
                </c:pt>
                <c:pt idx="1">
                  <c:v>945.393887945683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C0-4923-BF49-60ABF29C3BD6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60869565217391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00C0-4923-BF49-60ABF29C3BD6}"/>
                </c:ext>
              </c:extLst>
            </c:dLbl>
            <c:dLbl>
              <c:idx val="1"/>
              <c:layout>
                <c:manualLayout>
                  <c:x val="0"/>
                  <c:y val="-9.23913043478260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00C0-4923-BF49-60ABF29C3BD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664</c:v>
                </c:pt>
                <c:pt idx="1">
                  <c:v>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C0-4923-BF49-60ABF29C3B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38098744"/>
        <c:axId val="1"/>
      </c:barChart>
      <c:catAx>
        <c:axId val="838098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03.787775891367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380987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28381548084442E-2"/>
          <c:y val="0.18235294117647058"/>
          <c:w val="0.95934323690383116"/>
          <c:h val="0.691176470588235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90196078431372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AC8A-4BD6-9519-8FA25E3D7B78}"/>
                </c:ext>
              </c:extLst>
            </c:dLbl>
            <c:dLbl>
              <c:idx val="1"/>
              <c:layout>
                <c:manualLayout>
                  <c:x val="0"/>
                  <c:y val="-0.4019607843137255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AC8A-4BD6-9519-8FA25E3D7B7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\ ##0.00;"-"#\ ##0.00</c:formatCode>
                <c:ptCount val="2"/>
                <c:pt idx="0">
                  <c:v>7230.32</c:v>
                </c:pt>
                <c:pt idx="1">
                  <c:v>720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C8A-4BD6-9519-8FA25E3D7B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27751608"/>
        <c:axId val="1"/>
      </c:barChart>
      <c:catAx>
        <c:axId val="827751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800.66"/>
          <c:min val="0"/>
        </c:scaling>
        <c:delete val="1"/>
        <c:axPos val="l"/>
        <c:numFmt formatCode="#\ ##0.00;&quot;-&quot;#\ ##0.00" sourceLinked="1"/>
        <c:majorTickMark val="out"/>
        <c:minorTickMark val="none"/>
        <c:tickLblPos val="nextTo"/>
        <c:crossAx val="827751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63721657544957E-3"/>
          <c:y val="0.17962962962962964"/>
          <c:w val="0.95934323690383116"/>
          <c:h val="0.708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F22F-48C1-B718-43021EC1E19A}"/>
                </c:ext>
              </c:extLst>
            </c:dLbl>
            <c:dLbl>
              <c:idx val="1"/>
              <c:layout>
                <c:manualLayout>
                  <c:x val="0"/>
                  <c:y val="-0.3814814814814814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F22F-48C1-B718-43021EC1E19A}"/>
                </c:ext>
              </c:extLst>
            </c:dLbl>
            <c:dLbl>
              <c:idx val="2"/>
              <c:layout>
                <c:manualLayout>
                  <c:x val="0"/>
                  <c:y val="-0.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22F-48C1-B718-43021EC1E19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#\ ##0.0;"-"#\ ##0.0</c:formatCode>
                <c:ptCount val="3"/>
                <c:pt idx="0">
                  <c:v>189.4</c:v>
                </c:pt>
                <c:pt idx="1">
                  <c:v>204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22F-48C1-B718-43021EC1E1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5171088"/>
        <c:axId val="1"/>
      </c:barChart>
      <c:catAx>
        <c:axId val="7051710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4.08866"/>
          <c:min val="0"/>
        </c:scaling>
        <c:delete val="1"/>
        <c:axPos val="l"/>
        <c:numFmt formatCode="#\ ##0.0;&quot;-&quot;#\ ##0.0" sourceLinked="1"/>
        <c:majorTickMark val="out"/>
        <c:minorTickMark val="none"/>
        <c:tickLblPos val="nextTo"/>
        <c:crossAx val="7051710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1684"/>
          </a:xfrm>
          <a:prstGeom prst="rect">
            <a:avLst/>
          </a:prstGeom>
        </p:spPr>
        <p:txBody>
          <a:bodyPr vert="horz" lIns="90407" tIns="45203" rIns="90407" bIns="452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5375" y="0"/>
            <a:ext cx="2918830" cy="491684"/>
          </a:xfrm>
          <a:prstGeom prst="rect">
            <a:avLst/>
          </a:prstGeom>
        </p:spPr>
        <p:txBody>
          <a:bodyPr vert="horz" lIns="90407" tIns="45203" rIns="90407" bIns="45203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09.04.2026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307957"/>
            <a:ext cx="2918830" cy="491683"/>
          </a:xfrm>
          <a:prstGeom prst="rect">
            <a:avLst/>
          </a:prstGeom>
        </p:spPr>
        <p:txBody>
          <a:bodyPr vert="horz" lIns="90407" tIns="45203" rIns="90407" bIns="452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5375" y="9307957"/>
            <a:ext cx="2918830" cy="491683"/>
          </a:xfrm>
          <a:prstGeom prst="rect">
            <a:avLst/>
          </a:prstGeom>
        </p:spPr>
        <p:txBody>
          <a:bodyPr vert="horz" lIns="90407" tIns="45203" rIns="90407" bIns="45203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1684"/>
          </a:xfrm>
          <a:prstGeom prst="rect">
            <a:avLst/>
          </a:prstGeom>
        </p:spPr>
        <p:txBody>
          <a:bodyPr vert="horz" lIns="90407" tIns="45203" rIns="90407" bIns="452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1684"/>
          </a:xfrm>
          <a:prstGeom prst="rect">
            <a:avLst/>
          </a:prstGeom>
        </p:spPr>
        <p:txBody>
          <a:bodyPr vert="horz" lIns="90407" tIns="45203" rIns="90407" bIns="45203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09.04.202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8625" y="1225550"/>
            <a:ext cx="5878513" cy="33067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07" tIns="45203" rIns="90407" bIns="4520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16075"/>
            <a:ext cx="5388610" cy="3858608"/>
          </a:xfrm>
          <a:prstGeom prst="rect">
            <a:avLst/>
          </a:prstGeom>
        </p:spPr>
        <p:txBody>
          <a:bodyPr vert="horz" lIns="90407" tIns="45203" rIns="90407" bIns="4520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07957"/>
            <a:ext cx="2918830" cy="491683"/>
          </a:xfrm>
          <a:prstGeom prst="rect">
            <a:avLst/>
          </a:prstGeom>
        </p:spPr>
        <p:txBody>
          <a:bodyPr vert="horz" lIns="90407" tIns="45203" rIns="90407" bIns="452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07957"/>
            <a:ext cx="2918830" cy="491683"/>
          </a:xfrm>
          <a:prstGeom prst="rect">
            <a:avLst/>
          </a:prstGeom>
        </p:spPr>
        <p:txBody>
          <a:bodyPr vert="horz" lIns="90407" tIns="45203" rIns="90407" bIns="45203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9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1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74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71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85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3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53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57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240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900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1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89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4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580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8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0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306830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7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10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2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4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7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9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79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71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91916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16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500" y="1"/>
            <a:ext cx="9605964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17919" y="64724"/>
            <a:ext cx="1886630" cy="577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chart" Target="../charts/chart8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chart" Target="../charts/chart7.xml"/><Relationship Id="rId2" Type="http://schemas.openxmlformats.org/officeDocument/2006/relationships/tags" Target="../tags/tag94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0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5" Type="http://schemas.openxmlformats.org/officeDocument/2006/relationships/tags" Target="../tags/tag97.xml"/><Relationship Id="rId15" Type="http://schemas.openxmlformats.org/officeDocument/2006/relationships/oleObject" Target="../embeddings/oleObject30.bin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9" Type="http://schemas.openxmlformats.org/officeDocument/2006/relationships/tags" Target="../tags/tag79.xml"/><Relationship Id="rId21" Type="http://schemas.openxmlformats.org/officeDocument/2006/relationships/tags" Target="../tags/tag61.xml"/><Relationship Id="rId34" Type="http://schemas.openxmlformats.org/officeDocument/2006/relationships/tags" Target="../tags/tag74.xml"/><Relationship Id="rId42" Type="http://schemas.openxmlformats.org/officeDocument/2006/relationships/tags" Target="../tags/tag82.xml"/><Relationship Id="rId47" Type="http://schemas.openxmlformats.org/officeDocument/2006/relationships/tags" Target="../tags/tag87.xml"/><Relationship Id="rId50" Type="http://schemas.openxmlformats.org/officeDocument/2006/relationships/oleObject" Target="../embeddings/oleObject27.bin"/><Relationship Id="rId55" Type="http://schemas.openxmlformats.org/officeDocument/2006/relationships/chart" Target="../charts/chart4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tags" Target="../tags/tag73.xml"/><Relationship Id="rId38" Type="http://schemas.openxmlformats.org/officeDocument/2006/relationships/tags" Target="../tags/tag78.xml"/><Relationship Id="rId46" Type="http://schemas.openxmlformats.org/officeDocument/2006/relationships/tags" Target="../tags/tag86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41" Type="http://schemas.openxmlformats.org/officeDocument/2006/relationships/tags" Target="../tags/tag81.xml"/><Relationship Id="rId54" Type="http://schemas.openxmlformats.org/officeDocument/2006/relationships/chart" Target="../charts/chart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tags" Target="../tags/tag72.xml"/><Relationship Id="rId37" Type="http://schemas.openxmlformats.org/officeDocument/2006/relationships/tags" Target="../tags/tag77.xml"/><Relationship Id="rId40" Type="http://schemas.openxmlformats.org/officeDocument/2006/relationships/tags" Target="../tags/tag80.xml"/><Relationship Id="rId45" Type="http://schemas.openxmlformats.org/officeDocument/2006/relationships/tags" Target="../tags/tag85.xml"/><Relationship Id="rId53" Type="http://schemas.openxmlformats.org/officeDocument/2006/relationships/chart" Target="../charts/chart2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tags" Target="../tags/tag76.xml"/><Relationship Id="rId49" Type="http://schemas.openxmlformats.org/officeDocument/2006/relationships/slideLayout" Target="../slideLayouts/slideLayout9.xml"/><Relationship Id="rId57" Type="http://schemas.openxmlformats.org/officeDocument/2006/relationships/chart" Target="../charts/chart6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tags" Target="../tags/tag71.xml"/><Relationship Id="rId44" Type="http://schemas.openxmlformats.org/officeDocument/2006/relationships/tags" Target="../tags/tag84.xml"/><Relationship Id="rId52" Type="http://schemas.openxmlformats.org/officeDocument/2006/relationships/chart" Target="../charts/chart1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tags" Target="../tags/tag75.xml"/><Relationship Id="rId43" Type="http://schemas.openxmlformats.org/officeDocument/2006/relationships/tags" Target="../tags/tag83.xml"/><Relationship Id="rId48" Type="http://schemas.openxmlformats.org/officeDocument/2006/relationships/tags" Target="../tags/tag88.xml"/><Relationship Id="rId56" Type="http://schemas.openxmlformats.org/officeDocument/2006/relationships/chart" Target="../charts/chart5.xml"/><Relationship Id="rId8" Type="http://schemas.openxmlformats.org/officeDocument/2006/relationships/tags" Target="../tags/tag48.xml"/><Relationship Id="rId51" Type="http://schemas.openxmlformats.org/officeDocument/2006/relationships/image" Target="../media/image1.emf"/><Relationship Id="rId3" Type="http://schemas.openxmlformats.org/officeDocument/2006/relationships/tags" Target="../tags/tag4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tags" Target="../tags/tag8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033" y="5243514"/>
            <a:ext cx="5301390" cy="908050"/>
          </a:xfrm>
        </p:spPr>
        <p:txBody>
          <a:bodyPr/>
          <a:lstStyle/>
          <a:p>
            <a:r>
              <a:rPr lang="ru" sz="1600" dirty="0" smtClean="0">
                <a:latin typeface="Arial" pitchFamily="34" charset="0"/>
                <a:cs typeface="Arial" pitchFamily="34" charset="0"/>
              </a:rPr>
              <a:t>«</a:t>
            </a:r>
            <a:r>
              <a:rPr lang="ru" sz="1600" dirty="0">
                <a:latin typeface="Arial" pitchFamily="34" charset="0"/>
                <a:cs typeface="Arial" pitchFamily="34" charset="0"/>
              </a:rPr>
              <a:t>3-Энергоорталык», </a:t>
            </a:r>
            <a:r>
              <a:rPr lang="ru" sz="1600" dirty="0" smtClean="0"/>
              <a:t>21 </a:t>
            </a:r>
            <a:r>
              <a:rPr lang="ru" sz="1600" dirty="0"/>
              <a:t>апреля</a:t>
            </a:r>
            <a:r>
              <a:rPr lang="en-US" sz="1600" dirty="0"/>
              <a:t>,</a:t>
            </a:r>
            <a:r>
              <a:rPr lang="ru-RU" sz="1600" dirty="0"/>
              <a:t> </a:t>
            </a:r>
            <a:r>
              <a:rPr lang="ru" sz="1600" dirty="0" smtClean="0"/>
              <a:t>2026 </a:t>
            </a:r>
            <a:r>
              <a:rPr lang="en-US" sz="1600" dirty="0"/>
              <a:t>Kazakhstan</a:t>
            </a:r>
          </a:p>
          <a:p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4728392" cy="3552734"/>
          </a:xfrm>
        </p:spPr>
        <p:txBody>
          <a:bodyPr/>
          <a:lstStyle/>
          <a:p>
            <a:pPr lvl="0" defTabSz="914400"/>
            <a:r>
              <a:rPr lang="ru-RU" sz="2000" dirty="0">
                <a:latin typeface="Arial" pitchFamily="34" charset="0"/>
                <a:cs typeface="Arial" pitchFamily="34" charset="0"/>
              </a:rPr>
              <a:t>ОТЧЕТ ПО ИТОГАМ 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2025 ГОДА </a:t>
            </a:r>
            <a:endParaRPr lang="en-US" sz="2000" dirty="0" smtClean="0"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-RU" sz="2000" dirty="0" smtClean="0">
                <a:latin typeface="Arial" pitchFamily="34" charset="0"/>
                <a:cs typeface="Arial" pitchFamily="34" charset="0"/>
              </a:rPr>
              <a:t>ОБ 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ИСПОЛНЕНИИ УТВЕРЖДЕННОЙ ТАРИФНОЙ СМЕТЫ И ИНВЕСТИЦИОННОЙ ПРОГРАММЫ, </a:t>
            </a:r>
            <a:endParaRPr lang="en-US" sz="2000" dirty="0" smtClean="0"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-RU" sz="2000" dirty="0" smtClean="0">
                <a:latin typeface="Arial" pitchFamily="34" charset="0"/>
                <a:cs typeface="Arial" pitchFamily="34" charset="0"/>
              </a:rPr>
              <a:t>О 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СОБЛЮДЕНИИ ПОКАЗАТЕЛЕЙ КАЧЕСТВА И НАДЕЖНОСТИ РЕГУЛИРУЕМЫХ УСЛУГ И ДОСТИЖЕНИИ ПОКАЗАТЕЛЕЙ ЭФФЕКТИВНОСТИ ДЕЯТЕЛЬНОСТИ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 </a:t>
            </a:r>
            <a:endParaRPr lang="ru-RU" sz="2000" dirty="0"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-RU" sz="2000" dirty="0">
                <a:latin typeface="Arial" pitchFamily="34" charset="0"/>
                <a:cs typeface="Arial" pitchFamily="34" charset="0"/>
              </a:rPr>
              <a:t>ПЕРЕД ПОТРЕБИТЕЛЯМИ И ИНЫМИ ЗАИНТЕРЕСОВАННЫМИ ЛИЦАМИ </a:t>
            </a:r>
            <a:endParaRPr lang="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2867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4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ГОСТы и СанПиНы: регламентируют параметры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теплоносителя, температурные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режимы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Использование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энергоэффективного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оборудования и технологий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Контроль потерь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на всех этапах доставки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ониторинг температур и давления в теплосетях и на выходе из источников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Подготовк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и сертификация специалистов, работающих на объектах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оснабжения. Аттестация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ериодическое повышение квалификации является обязательным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для ИТР,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мастеров и операторов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Качество предоставляемых услуг обеспечивается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онтроль качества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валификация персонала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Работа с потребителями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2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5907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9" name="Слайд think-cell" r:id="rId15" imgW="594" imgH="595" progId="TCLayout.ActiveDocument.1">
                  <p:embed/>
                </p:oleObj>
              </mc:Choice>
              <mc:Fallback>
                <p:oleObj name="Слайд think-cell" r:id="rId15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79899"/>
            <a:ext cx="9605964" cy="704850"/>
          </a:xfrm>
        </p:spPr>
        <p:txBody>
          <a:bodyPr vert="horz"/>
          <a:lstStyle/>
          <a:p>
            <a:pPr>
              <a:tabLst>
                <a:tab pos="444500" algn="l"/>
              </a:tabLst>
            </a:pPr>
            <a:r>
              <a:rPr lang="ru" dirty="0">
                <a:solidFill>
                  <a:srgbClr val="DB700F"/>
                </a:solidFill>
              </a:rPr>
              <a:t>Информация о перспективах деятельности (планы развития</a:t>
            </a:r>
            <a:r>
              <a:rPr lang="ru" dirty="0" smtClean="0">
                <a:solidFill>
                  <a:srgbClr val="DB700F"/>
                </a:solidFill>
              </a:rPr>
              <a:t>), в </a:t>
            </a:r>
            <a:r>
              <a:rPr lang="ru" dirty="0">
                <a:solidFill>
                  <a:srgbClr val="DB700F"/>
                </a:solidFill>
              </a:rPr>
              <a:t>том числе возможных изменениях тарифов</a:t>
            </a:r>
            <a:r>
              <a:rPr lang="ru-RU" dirty="0">
                <a:solidFill>
                  <a:srgbClr val="DB70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solidFill>
                  <a:srgbClr val="DB700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12" name="Abgerundetes Rechteck 109"/>
          <p:cNvSpPr/>
          <p:nvPr/>
        </p:nvSpPr>
        <p:spPr>
          <a:xfrm>
            <a:off x="317501" y="14922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*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(утвержден уполномоченным органом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3" name="Abgerundetes Rechteck 109"/>
          <p:cNvSpPr>
            <a:spLocks/>
          </p:cNvSpPr>
          <p:nvPr/>
        </p:nvSpPr>
        <p:spPr>
          <a:xfrm>
            <a:off x="317501" y="36274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Инвестиции**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утверждены 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уполномоченным органом)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4" name="Straight Connector 418"/>
          <p:cNvCxnSpPr/>
          <p:nvPr/>
        </p:nvCxnSpPr>
        <p:spPr>
          <a:xfrm>
            <a:off x="236708" y="3242449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2550917"/>
              </p:ext>
            </p:extLst>
          </p:nvPr>
        </p:nvGraphicFramePr>
        <p:xfrm>
          <a:off x="2403475" y="1425575"/>
          <a:ext cx="4060825" cy="161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1" name="Прямоугольник 10"/>
          <p:cNvSpPr/>
          <p:nvPr>
            <p:custDataLst>
              <p:tags r:id="rId4"/>
            </p:custDataLst>
          </p:nvPr>
        </p:nvSpPr>
        <p:spPr bwMode="auto">
          <a:xfrm>
            <a:off x="3000375" y="2878139"/>
            <a:ext cx="59595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025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5"/>
            </p:custDataLst>
          </p:nvPr>
        </p:nvSpPr>
        <p:spPr bwMode="auto">
          <a:xfrm>
            <a:off x="4298950" y="2878139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6"/>
            </p:custDataLst>
          </p:nvPr>
        </p:nvSpPr>
        <p:spPr bwMode="auto">
          <a:xfrm>
            <a:off x="5597525" y="2878139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026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7"/>
            </p:custDataLst>
          </p:nvPr>
        </p:nvSpPr>
        <p:spPr bwMode="auto">
          <a:xfrm>
            <a:off x="6516688" y="154146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8"/>
            </p:custDataLst>
          </p:nvPr>
        </p:nvSpPr>
        <p:spPr bwMode="auto">
          <a:xfrm>
            <a:off x="6727825" y="15382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7F1FD4F-3C1C-48A9-8F29-7A5849B9CC18}" type="datetime'''т''''е''н''''''''г''''''е/''Г''''''''''''''''''кал''''''''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35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81826075"/>
              </p:ext>
            </p:extLst>
          </p:nvPr>
        </p:nvGraphicFramePr>
        <p:xfrm>
          <a:off x="2403475" y="3444875"/>
          <a:ext cx="4060825" cy="171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7" name="Прямоугольник 26"/>
          <p:cNvSpPr/>
          <p:nvPr>
            <p:custDataLst>
              <p:tags r:id="rId10"/>
            </p:custDataLst>
          </p:nvPr>
        </p:nvSpPr>
        <p:spPr bwMode="auto">
          <a:xfrm>
            <a:off x="2704700" y="4992688"/>
            <a:ext cx="789272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ABDC7B-AA66-4952-A4E4-C338C061CA42}" type="datetime'''''''''''''''''''''2''''''0''2''''''''5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1"/>
            </p:custDataLst>
          </p:nvPr>
        </p:nvSpPr>
        <p:spPr bwMode="auto">
          <a:xfrm>
            <a:off x="3869357" y="4992688"/>
            <a:ext cx="991402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E5BBD9-C02D-462F-98BC-216B00ADF008}" type="datetime'''''20''26''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2"/>
            </p:custDataLst>
          </p:nvPr>
        </p:nvSpPr>
        <p:spPr bwMode="auto">
          <a:xfrm>
            <a:off x="6516688" y="36766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3"/>
            </p:custDataLst>
          </p:nvPr>
        </p:nvSpPr>
        <p:spPr bwMode="auto">
          <a:xfrm>
            <a:off x="6727825" y="3673475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C9D6F7A-06CF-4E4D-B5AC-1EAE00CAB9A6}" type="datetime'''м''''''л''''''''н''''. ''''''''т''''''''енге'''''''''''">
              <a:rPr lang="ru-RU" altLang="en-US" sz="900" smtClean="0">
                <a:solidFill>
                  <a:schemeClr val="tx1"/>
                </a:solidFill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7811589" y="1068404"/>
            <a:ext cx="3878101" cy="4600876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accent1"/>
                </a:solidFill>
              </a:rPr>
              <a:t>Выполнение </a:t>
            </a:r>
            <a:r>
              <a:rPr lang="ru-RU" sz="1600" dirty="0" smtClean="0">
                <a:solidFill>
                  <a:schemeClr val="accent1"/>
                </a:solidFill>
              </a:rPr>
              <a:t>мероприятий позволит</a:t>
            </a:r>
            <a:r>
              <a:rPr lang="ru-RU" sz="16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32" name="Rectangle 5"/>
          <p:cNvSpPr>
            <a:spLocks noChangeArrowheads="1"/>
          </p:cNvSpPr>
          <p:nvPr/>
        </p:nvSpPr>
        <p:spPr bwMode="auto">
          <a:xfrm>
            <a:off x="7942218" y="1693321"/>
            <a:ext cx="3812074" cy="3783207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повысить эффективность </a:t>
            </a:r>
            <a:r>
              <a:rPr lang="ru-RU" sz="1600" dirty="0"/>
              <a:t>работы </a:t>
            </a:r>
            <a:r>
              <a:rPr lang="ru-RU" sz="1600" dirty="0" smtClean="0"/>
              <a:t>оборудования и качество </a:t>
            </a:r>
            <a:r>
              <a:rPr lang="ru-RU" sz="1600" dirty="0"/>
              <a:t>предоставляемых </a:t>
            </a:r>
            <a:r>
              <a:rPr lang="ru-RU" sz="1600" dirty="0" smtClean="0"/>
              <a:t>регулируемых услуг</a:t>
            </a:r>
            <a:endParaRPr lang="ru-RU" sz="16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24657" y="5500095"/>
            <a:ext cx="75724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В связи с ожидаемым увеличением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н на газ в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6 году с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юля, 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риф на тепловую энергию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жет быть 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смотрен с учетом новых цен на стратегический товар (газ)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54981" y="6005077"/>
            <a:ext cx="772303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*В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ях снижения износа планируется корректировка инвестиционной программы по производству тепловой энергии на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6 год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заменой мероприятий без увеличением суммы инвестиционной программы. </a:t>
            </a:r>
          </a:p>
        </p:txBody>
      </p:sp>
    </p:spTree>
    <p:extLst>
      <p:ext uri="{BB962C8B-B14F-4D97-AF65-F5344CB8AC3E}">
        <p14:creationId xmlns:p14="http://schemas.microsoft.com/office/powerpoint/2010/main" val="234139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4728392" cy="3552734"/>
          </a:xfrm>
        </p:spPr>
        <p:txBody>
          <a:bodyPr/>
          <a:lstStyle/>
          <a:p>
            <a:pPr lvl="0" defTabSz="914400"/>
            <a:endParaRPr lang="ru" sz="4400" dirty="0" smtClean="0"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" sz="4400" dirty="0" smtClean="0">
                <a:latin typeface="Arial" pitchFamily="34" charset="0"/>
                <a:cs typeface="Arial" pitchFamily="34" charset="0"/>
              </a:rPr>
              <a:t>Спасибо за внимание </a:t>
            </a:r>
            <a:endParaRPr lang="ru" sz="4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303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1166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2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" dirty="0">
                <a:solidFill>
                  <a:srgbClr val="DB700F"/>
                </a:solidFill>
              </a:rPr>
              <a:t>Общие сведения </a:t>
            </a: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21382" y="3348153"/>
            <a:ext cx="56191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- природный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газ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(газ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на станцию подается по индивидуальной ветке от магистрального трубопровода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Газли-Шымкент); 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езерв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– топочный мазут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1383" y="868079"/>
            <a:ext cx="1177826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АО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«3-Энергоорталык» -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энергоисточник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с комбинированным производством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электрической и тепловой энергии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. </a:t>
            </a:r>
            <a:endParaRPr lang="ru-RU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221382" y="1198211"/>
            <a:ext cx="5619182" cy="22390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ые технические показатели: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Установленная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электрическая мощность станции - 160 Мвт. </a:t>
            </a:r>
            <a:endParaRPr lang="ru-RU" sz="1600" dirty="0" smtClean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бочая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мощность станции составляет </a:t>
            </a:r>
            <a:r>
              <a:rPr lang="ru-RU" sz="1600">
                <a:solidFill>
                  <a:prstClr val="black"/>
                </a:solidFill>
                <a:cs typeface="Times New Roman" panose="02020603050405020304" pitchFamily="18" charset="0"/>
              </a:rPr>
              <a:t>до </a:t>
            </a:r>
            <a:r>
              <a:rPr lang="ru-RU" sz="1600" smtClean="0">
                <a:solidFill>
                  <a:prstClr val="black"/>
                </a:solidFill>
                <a:cs typeface="Times New Roman" panose="02020603050405020304" pitchFamily="18" charset="0"/>
              </a:rPr>
              <a:t>75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МВт летом и до 140 МВт зимой.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епловая мощность станции позволяет выдавать до 500 Гкал/час тепла в горячей воде и до 205 т/час пара разных параметров (60 атм., 35 атм., 16 атм.). </a:t>
            </a:r>
            <a:endParaRPr lang="ru-RU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221382" y="5672263"/>
            <a:ext cx="11540825" cy="8309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625475">
              <a:spcBef>
                <a:spcPts val="300"/>
              </a:spcBef>
              <a:spcAft>
                <a:spcPts val="300"/>
              </a:spcAft>
            </a:pPr>
            <a:r>
              <a:rPr lang="ru" sz="1600" dirty="0">
                <a:latin typeface="Arial" panose="020B0604020202020204" pitchFamily="34" charset="0"/>
                <a:cs typeface="Arial" panose="020B0604020202020204" pitchFamily="34" charset="0"/>
              </a:rPr>
              <a:t>АО «3-Энергоорталык» включено в местный раздел Государственного регистра субъектов естественных монополий по услуге «</a:t>
            </a:r>
            <a:r>
              <a:rPr lang="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о тепловой энергии</a:t>
            </a:r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" b="1" cap="smal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приказ Департамента Комитета по регулированию естественных монополий и защите конкуренции МНЭ РК по ЮКО №304-ОД от 13 ноября 2015 года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/>
          </a:p>
        </p:txBody>
      </p:sp>
      <p:grpSp>
        <p:nvGrpSpPr>
          <p:cNvPr id="14" name="Group 488"/>
          <p:cNvGrpSpPr/>
          <p:nvPr/>
        </p:nvGrpSpPr>
        <p:grpSpPr>
          <a:xfrm>
            <a:off x="317500" y="5564144"/>
            <a:ext cx="371475" cy="371475"/>
            <a:chOff x="-2103438" y="3878264"/>
            <a:chExt cx="371475" cy="371475"/>
          </a:xfrm>
        </p:grpSpPr>
        <p:sp>
          <p:nvSpPr>
            <p:cNvPr id="15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488"/>
          <p:cNvGrpSpPr/>
          <p:nvPr/>
        </p:nvGrpSpPr>
        <p:grpSpPr>
          <a:xfrm>
            <a:off x="284163" y="759960"/>
            <a:ext cx="371475" cy="371475"/>
            <a:chOff x="-2103438" y="3878264"/>
            <a:chExt cx="371475" cy="371475"/>
          </a:xfrm>
        </p:grpSpPr>
        <p:sp>
          <p:nvSpPr>
            <p:cNvPr id="27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8" name="Рисунок 37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777" y="3437285"/>
            <a:ext cx="5736866" cy="201804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62777" y="1125295"/>
            <a:ext cx="5736866" cy="222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41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0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28" y="0"/>
            <a:ext cx="9316529" cy="704850"/>
          </a:xfrm>
        </p:spPr>
        <p:txBody>
          <a:bodyPr vert="horz"/>
          <a:lstStyle/>
          <a:p>
            <a:r>
              <a:rPr lang="ru-RU" dirty="0">
                <a:solidFill>
                  <a:srgbClr val="DB700F"/>
                </a:solidFill>
              </a:rPr>
              <a:t>Информация </a:t>
            </a:r>
            <a:r>
              <a:rPr lang="kk-KZ" dirty="0" smtClean="0">
                <a:solidFill>
                  <a:srgbClr val="DB700F"/>
                </a:solidFill>
              </a:rPr>
              <a:t>об исполнении </a:t>
            </a:r>
            <a:r>
              <a:rPr lang="kk-KZ" dirty="0">
                <a:solidFill>
                  <a:srgbClr val="DB700F"/>
                </a:solidFill>
              </a:rPr>
              <a:t>утвержденной </a:t>
            </a:r>
            <a:r>
              <a:rPr lang="ru-RU" dirty="0">
                <a:solidFill>
                  <a:srgbClr val="DB700F"/>
                </a:solidFill>
              </a:rPr>
              <a:t>инвестиционной программы за </a:t>
            </a:r>
            <a:r>
              <a:rPr lang="ru-RU" dirty="0" smtClean="0">
                <a:solidFill>
                  <a:srgbClr val="DB700F"/>
                </a:solidFill>
              </a:rPr>
              <a:t>2025 </a:t>
            </a:r>
            <a:r>
              <a:rPr lang="ru-RU" dirty="0">
                <a:solidFill>
                  <a:srgbClr val="DB700F"/>
                </a:solidFill>
              </a:rPr>
              <a:t>год </a:t>
            </a: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3360972"/>
              </p:ext>
            </p:extLst>
          </p:nvPr>
        </p:nvGraphicFramePr>
        <p:xfrm>
          <a:off x="172528" y="818147"/>
          <a:ext cx="12019476" cy="5706675"/>
        </p:xfrm>
        <a:graphic>
          <a:graphicData uri="http://schemas.openxmlformats.org/drawingml/2006/table">
            <a:tbl>
              <a:tblPr/>
              <a:tblGrid>
                <a:gridCol w="564348">
                  <a:extLst>
                    <a:ext uri="{9D8B030D-6E8A-4147-A177-3AD203B41FA5}">
                      <a16:colId xmlns:a16="http://schemas.microsoft.com/office/drawing/2014/main" val="2897226514"/>
                    </a:ext>
                  </a:extLst>
                </a:gridCol>
                <a:gridCol w="669849">
                  <a:extLst>
                    <a:ext uri="{9D8B030D-6E8A-4147-A177-3AD203B41FA5}">
                      <a16:colId xmlns:a16="http://schemas.microsoft.com/office/drawing/2014/main" val="1741636793"/>
                    </a:ext>
                  </a:extLst>
                </a:gridCol>
                <a:gridCol w="1510238">
                  <a:extLst>
                    <a:ext uri="{9D8B030D-6E8A-4147-A177-3AD203B41FA5}">
                      <a16:colId xmlns:a16="http://schemas.microsoft.com/office/drawing/2014/main" val="3908294442"/>
                    </a:ext>
                  </a:extLst>
                </a:gridCol>
                <a:gridCol w="340156">
                  <a:extLst>
                    <a:ext uri="{9D8B030D-6E8A-4147-A177-3AD203B41FA5}">
                      <a16:colId xmlns:a16="http://schemas.microsoft.com/office/drawing/2014/main" val="2322428389"/>
                    </a:ext>
                  </a:extLst>
                </a:gridCol>
                <a:gridCol w="293771">
                  <a:extLst>
                    <a:ext uri="{9D8B030D-6E8A-4147-A177-3AD203B41FA5}">
                      <a16:colId xmlns:a16="http://schemas.microsoft.com/office/drawing/2014/main" val="4080612180"/>
                    </a:ext>
                  </a:extLst>
                </a:gridCol>
                <a:gridCol w="386541">
                  <a:extLst>
                    <a:ext uri="{9D8B030D-6E8A-4147-A177-3AD203B41FA5}">
                      <a16:colId xmlns:a16="http://schemas.microsoft.com/office/drawing/2014/main" val="3889194954"/>
                    </a:ext>
                  </a:extLst>
                </a:gridCol>
                <a:gridCol w="432924">
                  <a:extLst>
                    <a:ext uri="{9D8B030D-6E8A-4147-A177-3AD203B41FA5}">
                      <a16:colId xmlns:a16="http://schemas.microsoft.com/office/drawing/2014/main" val="422756941"/>
                    </a:ext>
                  </a:extLst>
                </a:gridCol>
                <a:gridCol w="216463">
                  <a:extLst>
                    <a:ext uri="{9D8B030D-6E8A-4147-A177-3AD203B41FA5}">
                      <a16:colId xmlns:a16="http://schemas.microsoft.com/office/drawing/2014/main" val="886083908"/>
                    </a:ext>
                  </a:extLst>
                </a:gridCol>
                <a:gridCol w="572080">
                  <a:extLst>
                    <a:ext uri="{9D8B030D-6E8A-4147-A177-3AD203B41FA5}">
                      <a16:colId xmlns:a16="http://schemas.microsoft.com/office/drawing/2014/main" val="452499315"/>
                    </a:ext>
                  </a:extLst>
                </a:gridCol>
                <a:gridCol w="574014">
                  <a:extLst>
                    <a:ext uri="{9D8B030D-6E8A-4147-A177-3AD203B41FA5}">
                      <a16:colId xmlns:a16="http://schemas.microsoft.com/office/drawing/2014/main" val="1034706254"/>
                    </a:ext>
                  </a:extLst>
                </a:gridCol>
                <a:gridCol w="508934">
                  <a:extLst>
                    <a:ext uri="{9D8B030D-6E8A-4147-A177-3AD203B41FA5}">
                      <a16:colId xmlns:a16="http://schemas.microsoft.com/office/drawing/2014/main" val="1020379355"/>
                    </a:ext>
                  </a:extLst>
                </a:gridCol>
                <a:gridCol w="1332930">
                  <a:extLst>
                    <a:ext uri="{9D8B030D-6E8A-4147-A177-3AD203B41FA5}">
                      <a16:colId xmlns:a16="http://schemas.microsoft.com/office/drawing/2014/main" val="3279552369"/>
                    </a:ext>
                  </a:extLst>
                </a:gridCol>
                <a:gridCol w="272511">
                  <a:extLst>
                    <a:ext uri="{9D8B030D-6E8A-4147-A177-3AD203B41FA5}">
                      <a16:colId xmlns:a16="http://schemas.microsoft.com/office/drawing/2014/main" val="923580602"/>
                    </a:ext>
                  </a:extLst>
                </a:gridCol>
                <a:gridCol w="185541">
                  <a:extLst>
                    <a:ext uri="{9D8B030D-6E8A-4147-A177-3AD203B41FA5}">
                      <a16:colId xmlns:a16="http://schemas.microsoft.com/office/drawing/2014/main" val="214542402"/>
                    </a:ext>
                  </a:extLst>
                </a:gridCol>
                <a:gridCol w="239655">
                  <a:extLst>
                    <a:ext uri="{9D8B030D-6E8A-4147-A177-3AD203B41FA5}">
                      <a16:colId xmlns:a16="http://schemas.microsoft.com/office/drawing/2014/main" val="758584310"/>
                    </a:ext>
                  </a:extLst>
                </a:gridCol>
                <a:gridCol w="226126">
                  <a:extLst>
                    <a:ext uri="{9D8B030D-6E8A-4147-A177-3AD203B41FA5}">
                      <a16:colId xmlns:a16="http://schemas.microsoft.com/office/drawing/2014/main" val="3112472011"/>
                    </a:ext>
                  </a:extLst>
                </a:gridCol>
                <a:gridCol w="388473">
                  <a:extLst>
                    <a:ext uri="{9D8B030D-6E8A-4147-A177-3AD203B41FA5}">
                      <a16:colId xmlns:a16="http://schemas.microsoft.com/office/drawing/2014/main" val="2763260811"/>
                    </a:ext>
                  </a:extLst>
                </a:gridCol>
                <a:gridCol w="378809">
                  <a:extLst>
                    <a:ext uri="{9D8B030D-6E8A-4147-A177-3AD203B41FA5}">
                      <a16:colId xmlns:a16="http://schemas.microsoft.com/office/drawing/2014/main" val="2030938552"/>
                    </a:ext>
                  </a:extLst>
                </a:gridCol>
                <a:gridCol w="386541">
                  <a:extLst>
                    <a:ext uri="{9D8B030D-6E8A-4147-A177-3AD203B41FA5}">
                      <a16:colId xmlns:a16="http://schemas.microsoft.com/office/drawing/2014/main" val="4087278709"/>
                    </a:ext>
                  </a:extLst>
                </a:gridCol>
                <a:gridCol w="388473">
                  <a:extLst>
                    <a:ext uri="{9D8B030D-6E8A-4147-A177-3AD203B41FA5}">
                      <a16:colId xmlns:a16="http://schemas.microsoft.com/office/drawing/2014/main" val="2784312752"/>
                    </a:ext>
                  </a:extLst>
                </a:gridCol>
                <a:gridCol w="226126">
                  <a:extLst>
                    <a:ext uri="{9D8B030D-6E8A-4147-A177-3AD203B41FA5}">
                      <a16:colId xmlns:a16="http://schemas.microsoft.com/office/drawing/2014/main" val="2534289535"/>
                    </a:ext>
                  </a:extLst>
                </a:gridCol>
                <a:gridCol w="386541">
                  <a:extLst>
                    <a:ext uri="{9D8B030D-6E8A-4147-A177-3AD203B41FA5}">
                      <a16:colId xmlns:a16="http://schemas.microsoft.com/office/drawing/2014/main" val="27735674"/>
                    </a:ext>
                  </a:extLst>
                </a:gridCol>
                <a:gridCol w="280727">
                  <a:extLst>
                    <a:ext uri="{9D8B030D-6E8A-4147-A177-3AD203B41FA5}">
                      <a16:colId xmlns:a16="http://schemas.microsoft.com/office/drawing/2014/main" val="3954226268"/>
                    </a:ext>
                  </a:extLst>
                </a:gridCol>
                <a:gridCol w="394636">
                  <a:extLst>
                    <a:ext uri="{9D8B030D-6E8A-4147-A177-3AD203B41FA5}">
                      <a16:colId xmlns:a16="http://schemas.microsoft.com/office/drawing/2014/main" val="1298352174"/>
                    </a:ext>
                  </a:extLst>
                </a:gridCol>
                <a:gridCol w="336702">
                  <a:extLst>
                    <a:ext uri="{9D8B030D-6E8A-4147-A177-3AD203B41FA5}">
                      <a16:colId xmlns:a16="http://schemas.microsoft.com/office/drawing/2014/main" val="3629614802"/>
                    </a:ext>
                  </a:extLst>
                </a:gridCol>
                <a:gridCol w="526367">
                  <a:extLst>
                    <a:ext uri="{9D8B030D-6E8A-4147-A177-3AD203B41FA5}">
                      <a16:colId xmlns:a16="http://schemas.microsoft.com/office/drawing/2014/main" val="3801636240"/>
                    </a:ext>
                  </a:extLst>
                </a:gridCol>
              </a:tblGrid>
              <a:tr h="848232">
                <a:tc rowSpan="4"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плановых и фактических объемах предоставления регулируемых услуг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ет о прибылях и убытках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умма инвестиционной программы (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ен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фактических условиях и размерах финансирования инвестиционной программы, тыс. тенг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 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890275"/>
                  </a:ext>
                </a:extLst>
              </a:tr>
              <a:tr h="11054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мероприят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личество в натуральных показателя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бственные средств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емные средства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юджетные средства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лучшение производственных показателей, %, по годам реализации в зависимости от утвержденной инвестиционной программ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потерь, %, по годам реализации в зависимости от утвержденной инвестиционной программы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аварийности, по годам реализации в зависимости от утвержденной инвестиционной программы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636330"/>
                  </a:ext>
                </a:extLst>
              </a:tr>
              <a:tr h="312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0827218"/>
                  </a:ext>
                </a:extLst>
              </a:tr>
              <a:tr h="3545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0351791"/>
                  </a:ext>
                </a:extLst>
              </a:tr>
              <a:tr h="1390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953708"/>
                  </a:ext>
                </a:extLst>
              </a:tr>
              <a:tr h="3823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о тепловой энергии. (г.Шымкент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КПП 1-ступени котлоагрегата ТГМЕ-464 ст.№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5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98,580 млн.тенге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 3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 3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9 409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,9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3671"/>
                  </a:ext>
                </a:extLst>
              </a:tr>
              <a:tr h="4102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кровли зданий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Ц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ЦЦ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Ц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П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и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хнососной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 0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 0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,0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658195"/>
                  </a:ext>
                </a:extLst>
              </a:tr>
              <a:tr h="3545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газового тракта котлоагрегата №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 5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7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225,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 счет увеличения стоимости материал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,4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694030"/>
                  </a:ext>
                </a:extLst>
              </a:tr>
              <a:tr h="3545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воздушного тракт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тлоагрегат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№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 6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 1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513,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 счет увеличения стоимости материал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,4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4132683"/>
                  </a:ext>
                </a:extLst>
              </a:tr>
              <a:tr h="3684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ШПП  котлоагрегата ТГМЕ-464 ст.№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4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8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19,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 счет увеличения стоимости материал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,9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0786734"/>
                  </a:ext>
                </a:extLst>
              </a:tr>
              <a:tr h="347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ШПП  котлоагрегата ТГМЕ-464 ст.№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5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9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1,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 счет увеличения стоимости материал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,4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9078782"/>
                  </a:ext>
                </a:extLst>
              </a:tr>
              <a:tr h="4727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конструкция кровли главного корпуса машинного зал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ТЦ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и Деаэраторного этаж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 7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 0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 731,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бо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,3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585385"/>
                  </a:ext>
                </a:extLst>
              </a:tr>
              <a:tr h="194676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9 4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2 197,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88,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214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634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775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9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rgbClr val="DB700F"/>
                </a:solidFill>
              </a:rPr>
              <a:t>Информация </a:t>
            </a:r>
            <a:r>
              <a:rPr lang="ru-RU" dirty="0" smtClean="0">
                <a:solidFill>
                  <a:srgbClr val="DB700F"/>
                </a:solidFill>
              </a:rPr>
              <a:t>о </a:t>
            </a:r>
            <a:r>
              <a:rPr lang="ru-RU" dirty="0">
                <a:solidFill>
                  <a:srgbClr val="DB700F"/>
                </a:solidFill>
              </a:rPr>
              <a:t>постатейном исполнении тарифной сметы на </a:t>
            </a:r>
            <a:r>
              <a:rPr lang="ru-RU" dirty="0" smtClean="0">
                <a:solidFill>
                  <a:srgbClr val="DB700F"/>
                </a:solidFill>
              </a:rPr>
              <a:t>услугу </a:t>
            </a:r>
            <a:r>
              <a:rPr lang="ru-RU" dirty="0">
                <a:solidFill>
                  <a:srgbClr val="DB700F"/>
                </a:solidFill>
              </a:rPr>
              <a:t>по производству тепловой </a:t>
            </a:r>
            <a:r>
              <a:rPr lang="ru-RU" dirty="0" smtClean="0">
                <a:solidFill>
                  <a:srgbClr val="DB700F"/>
                </a:solidFill>
              </a:rPr>
              <a:t>энергии за 2025 год (1 </a:t>
            </a:r>
            <a:r>
              <a:rPr lang="ru-RU" dirty="0">
                <a:solidFill>
                  <a:srgbClr val="DB700F"/>
                </a:solidFill>
              </a:rPr>
              <a:t>из </a:t>
            </a:r>
            <a:r>
              <a:rPr lang="ru-RU" dirty="0" smtClean="0">
                <a:solidFill>
                  <a:srgbClr val="DB700F"/>
                </a:solidFill>
              </a:rPr>
              <a:t>3)</a:t>
            </a: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138781"/>
              </p:ext>
            </p:extLst>
          </p:nvPr>
        </p:nvGraphicFramePr>
        <p:xfrm>
          <a:off x="317501" y="866272"/>
          <a:ext cx="11685203" cy="5607232"/>
        </p:xfrm>
        <a:graphic>
          <a:graphicData uri="http://schemas.openxmlformats.org/drawingml/2006/table">
            <a:tbl>
              <a:tblPr/>
              <a:tblGrid>
                <a:gridCol w="373136">
                  <a:extLst>
                    <a:ext uri="{9D8B030D-6E8A-4147-A177-3AD203B41FA5}">
                      <a16:colId xmlns:a16="http://schemas.microsoft.com/office/drawing/2014/main" val="3989833799"/>
                    </a:ext>
                  </a:extLst>
                </a:gridCol>
                <a:gridCol w="3007040">
                  <a:extLst>
                    <a:ext uri="{9D8B030D-6E8A-4147-A177-3AD203B41FA5}">
                      <a16:colId xmlns:a16="http://schemas.microsoft.com/office/drawing/2014/main" val="785077372"/>
                    </a:ext>
                  </a:extLst>
                </a:gridCol>
                <a:gridCol w="801147">
                  <a:extLst>
                    <a:ext uri="{9D8B030D-6E8A-4147-A177-3AD203B41FA5}">
                      <a16:colId xmlns:a16="http://schemas.microsoft.com/office/drawing/2014/main" val="2706662530"/>
                    </a:ext>
                  </a:extLst>
                </a:gridCol>
                <a:gridCol w="1308721">
                  <a:extLst>
                    <a:ext uri="{9D8B030D-6E8A-4147-A177-3AD203B41FA5}">
                      <a16:colId xmlns:a16="http://schemas.microsoft.com/office/drawing/2014/main" val="1610246789"/>
                    </a:ext>
                  </a:extLst>
                </a:gridCol>
                <a:gridCol w="1275796">
                  <a:extLst>
                    <a:ext uri="{9D8B030D-6E8A-4147-A177-3AD203B41FA5}">
                      <a16:colId xmlns:a16="http://schemas.microsoft.com/office/drawing/2014/main" val="3523077671"/>
                    </a:ext>
                  </a:extLst>
                </a:gridCol>
                <a:gridCol w="1144101">
                  <a:extLst>
                    <a:ext uri="{9D8B030D-6E8A-4147-A177-3AD203B41FA5}">
                      <a16:colId xmlns:a16="http://schemas.microsoft.com/office/drawing/2014/main" val="2664924331"/>
                    </a:ext>
                  </a:extLst>
                </a:gridCol>
                <a:gridCol w="3775262">
                  <a:extLst>
                    <a:ext uri="{9D8B030D-6E8A-4147-A177-3AD203B41FA5}">
                      <a16:colId xmlns:a16="http://schemas.microsoft.com/office/drawing/2014/main" val="1266272402"/>
                    </a:ext>
                  </a:extLst>
                </a:gridCol>
              </a:tblGrid>
              <a:tr h="8082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(приказ ДКРЕМ №88 от 21.11.25г)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973873"/>
                  </a:ext>
                </a:extLst>
              </a:tr>
              <a:tr h="2844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производство товаров и предоставление услуг, всего, в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.ч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722 063,8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552 152,1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5,1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220504"/>
                  </a:ext>
                </a:extLst>
              </a:tr>
              <a:tr h="1974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.затраты -всего, в т.ч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030 470,75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800 271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,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430565"/>
                  </a:ext>
                </a:extLst>
              </a:tr>
              <a:tr h="1616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опливо (газ,мазут)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888 487,44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653 303,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,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объемов производства. 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8104088"/>
                  </a:ext>
                </a:extLst>
              </a:tr>
              <a:tr h="1810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имреагенты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0 043,74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1 848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цены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718180"/>
                  </a:ext>
                </a:extLst>
              </a:tr>
              <a:tr h="1552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ода на технолог.цели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 813,0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 316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,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объемов производства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2010609"/>
                  </a:ext>
                </a:extLst>
              </a:tr>
              <a:tr h="1616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на ТО и эксплуатацию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490,03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 024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4,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ост цен на материалы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2540810"/>
                  </a:ext>
                </a:extLst>
              </a:tr>
              <a:tr h="1681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5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636,54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780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,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цены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4425770"/>
                  </a:ext>
                </a:extLst>
              </a:tr>
              <a:tr h="1616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оплату труда, всего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1 910,21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1 101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,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3087848"/>
                  </a:ext>
                </a:extLst>
              </a:tr>
              <a:tr h="2780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1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ППР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8 272,99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2 764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,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численности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2647793"/>
                  </a:ext>
                </a:extLst>
              </a:tr>
              <a:tr h="1875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 489,03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 065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0,2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отчисления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8608769"/>
                  </a:ext>
                </a:extLst>
              </a:tr>
              <a:tr h="3040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3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148,19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 272,0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8,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отчисления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1550945"/>
                  </a:ext>
                </a:extLst>
              </a:tr>
              <a:tr h="2715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5 643,1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8 577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,7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ОС за счет капитальных ремонтов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864213"/>
                  </a:ext>
                </a:extLst>
              </a:tr>
              <a:tr h="1745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монт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3 359,76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 165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Увеличение стоимости услуг 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120414"/>
                  </a:ext>
                </a:extLst>
              </a:tr>
              <a:tr h="1810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1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рем.работы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 840,8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 877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291321"/>
                  </a:ext>
                </a:extLst>
              </a:tr>
              <a:tr h="2004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2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подрядных орг. по ремонту</a:t>
                      </a:r>
                    </a:p>
                  </a:txBody>
                  <a:tcPr marL="47681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 519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 288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,2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439574"/>
                  </a:ext>
                </a:extLst>
              </a:tr>
              <a:tr h="2120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затраты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 679,9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4 038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2,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7271206"/>
                  </a:ext>
                </a:extLst>
              </a:tr>
              <a:tr h="2715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1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Услуги сторонних организаций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179,5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8 503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2,9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услуг, производственная необходимость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8298182"/>
                  </a:ext>
                </a:extLst>
              </a:tr>
              <a:tr h="2974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2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 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 561,4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915,0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,2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налога на имущество в  связи с увеличением стоимости ОС за счет капитального ремонта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4693991"/>
                  </a:ext>
                </a:extLst>
              </a:tr>
              <a:tr h="3038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3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рахование 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06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919,0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4,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5074580"/>
                  </a:ext>
                </a:extLst>
              </a:tr>
              <a:tr h="3491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4.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охрану труда и  ТБ (спец.одежда, мыло,молоко)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233,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01,00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,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</a:t>
                      </a:r>
                    </a:p>
                  </a:txBody>
                  <a:tcPr marL="5298" marR="5298" marT="52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5254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322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252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4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>
                <a:solidFill>
                  <a:srgbClr val="DB700F"/>
                </a:solidFill>
              </a:rPr>
              <a:t>Информация о постатейном исполнении тарифной сметы на </a:t>
            </a:r>
            <a:r>
              <a:rPr lang="ru-RU" dirty="0">
                <a:solidFill>
                  <a:srgbClr val="DB700F"/>
                </a:solidFill>
              </a:rPr>
              <a:t>услугу по производству тепловой энергии за </a:t>
            </a:r>
            <a:r>
              <a:rPr lang="ru-RU" dirty="0" smtClean="0">
                <a:solidFill>
                  <a:srgbClr val="DB700F"/>
                </a:solidFill>
              </a:rPr>
              <a:t>2025 </a:t>
            </a:r>
            <a:r>
              <a:rPr lang="ru-RU" dirty="0">
                <a:solidFill>
                  <a:srgbClr val="DB700F"/>
                </a:solidFill>
              </a:rPr>
              <a:t>год (</a:t>
            </a:r>
            <a:r>
              <a:rPr lang="ru-RU" dirty="0" smtClean="0">
                <a:solidFill>
                  <a:srgbClr val="DB700F"/>
                </a:solidFill>
              </a:rPr>
              <a:t>2 </a:t>
            </a:r>
            <a:r>
              <a:rPr lang="ru-RU" dirty="0">
                <a:solidFill>
                  <a:srgbClr val="DB700F"/>
                </a:solidFill>
              </a:rPr>
              <a:t>из 3)</a:t>
            </a: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796384"/>
              </p:ext>
            </p:extLst>
          </p:nvPr>
        </p:nvGraphicFramePr>
        <p:xfrm>
          <a:off x="317500" y="808524"/>
          <a:ext cx="11502322" cy="5471322"/>
        </p:xfrm>
        <a:graphic>
          <a:graphicData uri="http://schemas.openxmlformats.org/drawingml/2006/table">
            <a:tbl>
              <a:tblPr/>
              <a:tblGrid>
                <a:gridCol w="367296">
                  <a:extLst>
                    <a:ext uri="{9D8B030D-6E8A-4147-A177-3AD203B41FA5}">
                      <a16:colId xmlns:a16="http://schemas.microsoft.com/office/drawing/2014/main" val="1757727484"/>
                    </a:ext>
                  </a:extLst>
                </a:gridCol>
                <a:gridCol w="2959978">
                  <a:extLst>
                    <a:ext uri="{9D8B030D-6E8A-4147-A177-3AD203B41FA5}">
                      <a16:colId xmlns:a16="http://schemas.microsoft.com/office/drawing/2014/main" val="1446339058"/>
                    </a:ext>
                  </a:extLst>
                </a:gridCol>
                <a:gridCol w="788608">
                  <a:extLst>
                    <a:ext uri="{9D8B030D-6E8A-4147-A177-3AD203B41FA5}">
                      <a16:colId xmlns:a16="http://schemas.microsoft.com/office/drawing/2014/main" val="874968324"/>
                    </a:ext>
                  </a:extLst>
                </a:gridCol>
                <a:gridCol w="1288238">
                  <a:extLst>
                    <a:ext uri="{9D8B030D-6E8A-4147-A177-3AD203B41FA5}">
                      <a16:colId xmlns:a16="http://schemas.microsoft.com/office/drawing/2014/main" val="925215361"/>
                    </a:ext>
                  </a:extLst>
                </a:gridCol>
                <a:gridCol w="1255830">
                  <a:extLst>
                    <a:ext uri="{9D8B030D-6E8A-4147-A177-3AD203B41FA5}">
                      <a16:colId xmlns:a16="http://schemas.microsoft.com/office/drawing/2014/main" val="2932638289"/>
                    </a:ext>
                  </a:extLst>
                </a:gridCol>
                <a:gridCol w="1126196">
                  <a:extLst>
                    <a:ext uri="{9D8B030D-6E8A-4147-A177-3AD203B41FA5}">
                      <a16:colId xmlns:a16="http://schemas.microsoft.com/office/drawing/2014/main" val="4234889511"/>
                    </a:ext>
                  </a:extLst>
                </a:gridCol>
                <a:gridCol w="3716176">
                  <a:extLst>
                    <a:ext uri="{9D8B030D-6E8A-4147-A177-3AD203B41FA5}">
                      <a16:colId xmlns:a16="http://schemas.microsoft.com/office/drawing/2014/main" val="2013875121"/>
                    </a:ext>
                  </a:extLst>
                </a:gridCol>
              </a:tblGrid>
              <a:tr h="8959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(приказ ДКРЕМ №88 от 21.11.25г)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148435"/>
                  </a:ext>
                </a:extLst>
              </a:tr>
              <a:tr h="1791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ЕРИОДА всего, вт.ч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 011,41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 911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8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5696570"/>
                  </a:ext>
                </a:extLst>
              </a:tr>
              <a:tr h="3870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щие и административные расходы всего, в т.ч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 011,41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 911,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8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546656"/>
                  </a:ext>
                </a:extLst>
              </a:tr>
              <a:tr h="3583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1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административного персонала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622,56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 516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8,5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численности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4554983"/>
                  </a:ext>
                </a:extLst>
              </a:tr>
              <a:tr h="2508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2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34,63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113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2,7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отчисления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6877484"/>
                  </a:ext>
                </a:extLst>
              </a:tr>
              <a:tr h="3727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3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28,68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2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0,6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отчисления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4971391"/>
                  </a:ext>
                </a:extLst>
              </a:tr>
              <a:tr h="301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4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1,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38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3,4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налога на имущество в  связи с увеличением стоимости ОС за счет капитального ремонта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0109948"/>
                  </a:ext>
                </a:extLst>
              </a:tr>
              <a:tr h="2078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расходы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 494,55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2 852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,7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6976154"/>
                  </a:ext>
                </a:extLst>
              </a:tr>
              <a:tr h="301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766,34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860,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2,1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ОС за счет капитальных ремонтов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4372291"/>
                  </a:ext>
                </a:extLst>
              </a:tr>
              <a:tr h="229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2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 для легкового транспорта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0,61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2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,3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цены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2170158"/>
                  </a:ext>
                </a:extLst>
              </a:tr>
              <a:tr h="3583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3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нцтовары, бланочная продукция, компьютерные комплектации</a:t>
                      </a:r>
                    </a:p>
                  </a:txBody>
                  <a:tcPr marL="52286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128,53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6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9,6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сходов в связи со снижением объемов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9972244"/>
                  </a:ext>
                </a:extLst>
              </a:tr>
              <a:tr h="3368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4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мандировочные расходы </a:t>
                      </a:r>
                    </a:p>
                  </a:txBody>
                  <a:tcPr marL="52286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3,53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06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812,1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ост затрат за счет увеличения кол-ва командировок, производственная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еобходимость.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5289053"/>
                  </a:ext>
                </a:extLst>
              </a:tr>
              <a:tr h="2795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5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связи </a:t>
                      </a:r>
                    </a:p>
                  </a:txBody>
                  <a:tcPr marL="52286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54,74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342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,6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услуг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1901548"/>
                  </a:ext>
                </a:extLst>
              </a:tr>
              <a:tr h="2866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6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о страхованию </a:t>
                      </a:r>
                    </a:p>
                  </a:txBody>
                  <a:tcPr marL="52286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8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2,0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1,6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кращение численности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9210343"/>
                  </a:ext>
                </a:extLst>
              </a:tr>
              <a:tr h="3153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7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общего характера сторонних организаций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 667,8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1 913,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,3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, производственная необходимость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1316696"/>
                  </a:ext>
                </a:extLst>
              </a:tr>
              <a:tr h="3082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8.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  воды  на ХН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енге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5,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1,0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2,0</a:t>
                      </a:r>
                    </a:p>
                  </a:txBody>
                  <a:tcPr marL="5810" marR="5810" marT="5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связи с изменением коэффициента распределения затрат на тепловую энергию</a:t>
                      </a: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68064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5351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182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6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rgbClr val="DB700F"/>
                </a:solidFill>
              </a:rPr>
              <a:t>Информация о постатейном исполнении тарифной сметы на </a:t>
            </a:r>
            <a:r>
              <a:rPr lang="ru-RU" dirty="0" smtClean="0">
                <a:solidFill>
                  <a:srgbClr val="DB700F"/>
                </a:solidFill>
              </a:rPr>
              <a:t>услугу </a:t>
            </a:r>
            <a:r>
              <a:rPr lang="ru-RU" dirty="0">
                <a:solidFill>
                  <a:srgbClr val="DB700F"/>
                </a:solidFill>
              </a:rPr>
              <a:t>по производству тепловой энергии за </a:t>
            </a:r>
            <a:r>
              <a:rPr lang="ru-RU" dirty="0" smtClean="0">
                <a:solidFill>
                  <a:srgbClr val="DB700F"/>
                </a:solidFill>
              </a:rPr>
              <a:t>2025 </a:t>
            </a:r>
            <a:r>
              <a:rPr lang="ru-RU" dirty="0">
                <a:solidFill>
                  <a:srgbClr val="DB700F"/>
                </a:solidFill>
              </a:rPr>
              <a:t>год </a:t>
            </a:r>
            <a:r>
              <a:rPr lang="ru-RU" dirty="0" smtClean="0">
                <a:solidFill>
                  <a:srgbClr val="DB700F"/>
                </a:solidFill>
              </a:rPr>
              <a:t>(3 </a:t>
            </a:r>
            <a:r>
              <a:rPr lang="ru-RU" dirty="0">
                <a:solidFill>
                  <a:srgbClr val="DB700F"/>
                </a:solidFill>
              </a:rPr>
              <a:t>из </a:t>
            </a:r>
            <a:r>
              <a:rPr lang="ru-RU" dirty="0" smtClean="0">
                <a:solidFill>
                  <a:srgbClr val="DB700F"/>
                </a:solidFill>
              </a:rPr>
              <a:t>3)</a:t>
            </a: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8566629"/>
              </p:ext>
            </p:extLst>
          </p:nvPr>
        </p:nvGraphicFramePr>
        <p:xfrm>
          <a:off x="317500" y="789273"/>
          <a:ext cx="11473447" cy="5390246"/>
        </p:xfrm>
        <a:graphic>
          <a:graphicData uri="http://schemas.openxmlformats.org/drawingml/2006/table">
            <a:tbl>
              <a:tblPr/>
              <a:tblGrid>
                <a:gridCol w="366375">
                  <a:extLst>
                    <a:ext uri="{9D8B030D-6E8A-4147-A177-3AD203B41FA5}">
                      <a16:colId xmlns:a16="http://schemas.microsoft.com/office/drawing/2014/main" val="1448657412"/>
                    </a:ext>
                  </a:extLst>
                </a:gridCol>
                <a:gridCol w="2952547">
                  <a:extLst>
                    <a:ext uri="{9D8B030D-6E8A-4147-A177-3AD203B41FA5}">
                      <a16:colId xmlns:a16="http://schemas.microsoft.com/office/drawing/2014/main" val="3670183427"/>
                    </a:ext>
                  </a:extLst>
                </a:gridCol>
                <a:gridCol w="786627">
                  <a:extLst>
                    <a:ext uri="{9D8B030D-6E8A-4147-A177-3AD203B41FA5}">
                      <a16:colId xmlns:a16="http://schemas.microsoft.com/office/drawing/2014/main" val="1625231342"/>
                    </a:ext>
                  </a:extLst>
                </a:gridCol>
                <a:gridCol w="1285004">
                  <a:extLst>
                    <a:ext uri="{9D8B030D-6E8A-4147-A177-3AD203B41FA5}">
                      <a16:colId xmlns:a16="http://schemas.microsoft.com/office/drawing/2014/main" val="1057288394"/>
                    </a:ext>
                  </a:extLst>
                </a:gridCol>
                <a:gridCol w="1252677">
                  <a:extLst>
                    <a:ext uri="{9D8B030D-6E8A-4147-A177-3AD203B41FA5}">
                      <a16:colId xmlns:a16="http://schemas.microsoft.com/office/drawing/2014/main" val="3019609699"/>
                    </a:ext>
                  </a:extLst>
                </a:gridCol>
                <a:gridCol w="1123369">
                  <a:extLst>
                    <a:ext uri="{9D8B030D-6E8A-4147-A177-3AD203B41FA5}">
                      <a16:colId xmlns:a16="http://schemas.microsoft.com/office/drawing/2014/main" val="991781107"/>
                    </a:ext>
                  </a:extLst>
                </a:gridCol>
                <a:gridCol w="3706848">
                  <a:extLst>
                    <a:ext uri="{9D8B030D-6E8A-4147-A177-3AD203B41FA5}">
                      <a16:colId xmlns:a16="http://schemas.microsoft.com/office/drawing/2014/main" val="4288472095"/>
                    </a:ext>
                  </a:extLst>
                </a:gridCol>
              </a:tblGrid>
              <a:tr h="11247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(приказ ДКРЕМ №88 от 21.11.25г)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37887"/>
                  </a:ext>
                </a:extLst>
              </a:tr>
              <a:tr h="31493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I.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ЗАТРАТ 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789 075,17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621 063,05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,4</a:t>
                      </a:r>
                    </a:p>
                  </a:txBody>
                  <a:tcPr marL="7272" marR="7272" marT="7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5600069"/>
                  </a:ext>
                </a:extLst>
              </a:tr>
              <a:tr h="3059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V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  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98 58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7272" marR="7272" marT="7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415042"/>
                  </a:ext>
                </a:extLst>
              </a:tr>
              <a:tr h="33293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ДОХОДОВ, всего в том числе: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789 075,17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522 483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,0</a:t>
                      </a:r>
                    </a:p>
                  </a:txBody>
                  <a:tcPr marL="7272" marR="7272" marT="7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1858606"/>
                  </a:ext>
                </a:extLst>
              </a:tr>
              <a:tr h="2249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- Тепловая энергия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784 848,68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520 68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,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3013656"/>
                  </a:ext>
                </a:extLst>
              </a:tr>
              <a:tr h="2969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226,49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803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7,3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3338783"/>
                  </a:ext>
                </a:extLst>
              </a:tr>
              <a:tr h="4949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м тепловой энергии,отпуск с коллекторов, всего в том числе: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02 044,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66 895,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,8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6063272"/>
                  </a:ext>
                </a:extLst>
              </a:tr>
              <a:tr h="242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пловая энергия на хоз.нужды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764,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 531,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,1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106781"/>
                  </a:ext>
                </a:extLst>
              </a:tr>
              <a:tr h="2657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I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м оказываемых услуг  ВСЕГО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5 280,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8 364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,2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301548"/>
                  </a:ext>
                </a:extLst>
              </a:tr>
              <a:tr h="2164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: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0692203"/>
                  </a:ext>
                </a:extLst>
              </a:tr>
              <a:tr h="3959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  Тепловая энергия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4 616,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8 051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,1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тепловой энергии по заявке единственного потребителя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П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"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уатжылуорталык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" 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5376373"/>
                  </a:ext>
                </a:extLst>
              </a:tr>
              <a:tr h="3545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4,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13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2,9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пара по заявке единственного потребителя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П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"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рдалиев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" 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4497926"/>
                  </a:ext>
                </a:extLst>
              </a:tr>
              <a:tr h="33293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X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реднеотпускной ТАРИФ, без НДС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365,2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427,87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4,73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4978563"/>
                  </a:ext>
                </a:extLst>
              </a:tr>
              <a:tr h="2699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 1.01.2025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61,4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61,4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6867186"/>
                  </a:ext>
                </a:extLst>
              </a:tr>
              <a:tr h="2164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 1.08.2025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230,32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230,32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72" marR="7272" marT="7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43989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8746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49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9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>
                <a:solidFill>
                  <a:srgbClr val="DB700F"/>
                </a:solidFill>
              </a:rPr>
              <a:t>Информация о </a:t>
            </a:r>
            <a:r>
              <a:rPr lang="ru-RU" dirty="0">
                <a:solidFill>
                  <a:srgbClr val="DB700F"/>
                </a:solidFill>
              </a:rPr>
              <a:t>соблюдении показателей качества и надежности регулируемых услуг и достижении показателей эффективности деятельности за </a:t>
            </a:r>
            <a:r>
              <a:rPr lang="ru-RU" dirty="0" smtClean="0">
                <a:solidFill>
                  <a:srgbClr val="DB700F"/>
                </a:solidFill>
              </a:rPr>
              <a:t>2025 </a:t>
            </a:r>
            <a:r>
              <a:rPr lang="ru-RU" dirty="0">
                <a:solidFill>
                  <a:srgbClr val="DB700F"/>
                </a:solidFill>
              </a:rPr>
              <a:t>год</a:t>
            </a: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5946" y="1217324"/>
            <a:ext cx="11284236" cy="1147185"/>
          </a:xfrm>
        </p:spPr>
        <p:txBody>
          <a:bodyPr/>
          <a:lstStyle/>
          <a:p>
            <a:pPr lvl="0" indent="539750" algn="just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prstClr val="black"/>
                </a:solidFill>
              </a:rPr>
              <a:t>Для АО «3-Энергоорталык» показатели качества и надежности регулируемых услуг и показатели эффективности деятельности </a:t>
            </a:r>
            <a:r>
              <a:rPr lang="ru-RU" dirty="0" smtClean="0">
                <a:solidFill>
                  <a:prstClr val="black"/>
                </a:solidFill>
              </a:rPr>
              <a:t>уполномоченным органом </a:t>
            </a:r>
            <a:r>
              <a:rPr lang="ru-RU" b="1" dirty="0" smtClean="0">
                <a:solidFill>
                  <a:prstClr val="black"/>
                </a:solidFill>
              </a:rPr>
              <a:t>не </a:t>
            </a:r>
            <a:r>
              <a:rPr lang="ru-RU" b="1" dirty="0">
                <a:solidFill>
                  <a:prstClr val="black"/>
                </a:solidFill>
              </a:rPr>
              <a:t>разрабатывались и не  утверждались</a:t>
            </a:r>
            <a:r>
              <a:rPr lang="ru-RU" dirty="0">
                <a:solidFill>
                  <a:prstClr val="black"/>
                </a:solidFill>
              </a:rPr>
              <a:t>. </a:t>
            </a:r>
            <a:endParaRPr lang="ru-RU" dirty="0" smtClean="0">
              <a:solidFill>
                <a:prstClr val="black"/>
              </a:solidFill>
            </a:endParaRPr>
          </a:p>
          <a:p>
            <a:pPr lvl="0" algn="just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В </a:t>
            </a:r>
            <a:r>
              <a:rPr lang="ru-RU" dirty="0">
                <a:solidFill>
                  <a:prstClr val="black"/>
                </a:solidFill>
              </a:rPr>
              <a:t>свою очередь в </a:t>
            </a:r>
            <a:r>
              <a:rPr lang="ru-RU" dirty="0" smtClean="0">
                <a:solidFill>
                  <a:prstClr val="black"/>
                </a:solidFill>
              </a:rPr>
              <a:t>2025 </a:t>
            </a:r>
            <a:r>
              <a:rPr lang="ru-RU" dirty="0">
                <a:solidFill>
                  <a:prstClr val="black"/>
                </a:solidFill>
              </a:rPr>
              <a:t>году в результате выполнения мероприятий, предусмотренных в утвержденной инвестиционной программе, достигнуты показатели: </a:t>
            </a:r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1879884"/>
              </p:ext>
            </p:extLst>
          </p:nvPr>
        </p:nvGraphicFramePr>
        <p:xfrm>
          <a:off x="317500" y="2301871"/>
          <a:ext cx="11559867" cy="1879894"/>
        </p:xfrm>
        <a:graphic>
          <a:graphicData uri="http://schemas.openxmlformats.org/drawingml/2006/table">
            <a:tbl>
              <a:tblPr/>
              <a:tblGrid>
                <a:gridCol w="498576">
                  <a:extLst>
                    <a:ext uri="{9D8B030D-6E8A-4147-A177-3AD203B41FA5}">
                      <a16:colId xmlns:a16="http://schemas.microsoft.com/office/drawing/2014/main" val="3498572434"/>
                    </a:ext>
                  </a:extLst>
                </a:gridCol>
                <a:gridCol w="3431458">
                  <a:extLst>
                    <a:ext uri="{9D8B030D-6E8A-4147-A177-3AD203B41FA5}">
                      <a16:colId xmlns:a16="http://schemas.microsoft.com/office/drawing/2014/main" val="3428123428"/>
                    </a:ext>
                  </a:extLst>
                </a:gridCol>
                <a:gridCol w="1268362">
                  <a:extLst>
                    <a:ext uri="{9D8B030D-6E8A-4147-A177-3AD203B41FA5}">
                      <a16:colId xmlns:a16="http://schemas.microsoft.com/office/drawing/2014/main" val="2716281711"/>
                    </a:ext>
                  </a:extLst>
                </a:gridCol>
                <a:gridCol w="1373166">
                  <a:extLst>
                    <a:ext uri="{9D8B030D-6E8A-4147-A177-3AD203B41FA5}">
                      <a16:colId xmlns:a16="http://schemas.microsoft.com/office/drawing/2014/main" val="3305198194"/>
                    </a:ext>
                  </a:extLst>
                </a:gridCol>
                <a:gridCol w="1279129">
                  <a:extLst>
                    <a:ext uri="{9D8B030D-6E8A-4147-A177-3AD203B41FA5}">
                      <a16:colId xmlns:a16="http://schemas.microsoft.com/office/drawing/2014/main" val="228468928"/>
                    </a:ext>
                  </a:extLst>
                </a:gridCol>
                <a:gridCol w="1622019">
                  <a:extLst>
                    <a:ext uri="{9D8B030D-6E8A-4147-A177-3AD203B41FA5}">
                      <a16:colId xmlns:a16="http://schemas.microsoft.com/office/drawing/2014/main" val="1764421017"/>
                    </a:ext>
                  </a:extLst>
                </a:gridCol>
                <a:gridCol w="2087157">
                  <a:extLst>
                    <a:ext uri="{9D8B030D-6E8A-4147-A177-3AD203B41FA5}">
                      <a16:colId xmlns:a16="http://schemas.microsoft.com/office/drawing/2014/main" val="2487229554"/>
                    </a:ext>
                  </a:extLst>
                </a:gridCol>
              </a:tblGrid>
              <a:tr h="6590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8139" marR="8139" marT="81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Показатели качества и </a:t>
                      </a:r>
                      <a:r>
                        <a:rPr lang="ru-RU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надежности </a:t>
                      </a:r>
                      <a:endParaRPr lang="ru-RU" sz="10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а 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ценка соблюдения показателей надёжности и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а 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чины (обоснование) несоблюдения показателей надежности и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а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174258"/>
                  </a:ext>
                </a:extLst>
              </a:tr>
              <a:tr h="203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139" marR="8139" marT="81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429827"/>
                  </a:ext>
                </a:extLst>
              </a:tr>
              <a:tr h="10173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139" marR="8139" marT="81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износа основных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редств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тверждались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тверждались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знос снизился от </a:t>
                      </a:r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4% до 5%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гнут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сутствуют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001279"/>
                  </a:ext>
                </a:extLst>
              </a:tr>
            </a:tbl>
          </a:graphicData>
        </a:graphic>
      </p:graphicFrame>
      <p:grpSp>
        <p:nvGrpSpPr>
          <p:cNvPr id="8" name="Group 488"/>
          <p:cNvGrpSpPr/>
          <p:nvPr/>
        </p:nvGrpSpPr>
        <p:grpSpPr>
          <a:xfrm>
            <a:off x="555976" y="1070720"/>
            <a:ext cx="371475" cy="371475"/>
            <a:chOff x="-2103438" y="3878264"/>
            <a:chExt cx="371475" cy="371475"/>
          </a:xfrm>
        </p:grpSpPr>
        <p:sp>
          <p:nvSpPr>
            <p:cNvPr id="9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8807"/>
              </p:ext>
            </p:extLst>
          </p:nvPr>
        </p:nvGraphicFramePr>
        <p:xfrm>
          <a:off x="317500" y="4333672"/>
          <a:ext cx="11559867" cy="1885899"/>
        </p:xfrm>
        <a:graphic>
          <a:graphicData uri="http://schemas.openxmlformats.org/drawingml/2006/table">
            <a:tbl>
              <a:tblPr/>
              <a:tblGrid>
                <a:gridCol w="498576">
                  <a:extLst>
                    <a:ext uri="{9D8B030D-6E8A-4147-A177-3AD203B41FA5}">
                      <a16:colId xmlns:a16="http://schemas.microsoft.com/office/drawing/2014/main" val="3498572434"/>
                    </a:ext>
                  </a:extLst>
                </a:gridCol>
                <a:gridCol w="3431458">
                  <a:extLst>
                    <a:ext uri="{9D8B030D-6E8A-4147-A177-3AD203B41FA5}">
                      <a16:colId xmlns:a16="http://schemas.microsoft.com/office/drawing/2014/main" val="3428123428"/>
                    </a:ext>
                  </a:extLst>
                </a:gridCol>
                <a:gridCol w="1268362">
                  <a:extLst>
                    <a:ext uri="{9D8B030D-6E8A-4147-A177-3AD203B41FA5}">
                      <a16:colId xmlns:a16="http://schemas.microsoft.com/office/drawing/2014/main" val="2716281711"/>
                    </a:ext>
                  </a:extLst>
                </a:gridCol>
                <a:gridCol w="1373166">
                  <a:extLst>
                    <a:ext uri="{9D8B030D-6E8A-4147-A177-3AD203B41FA5}">
                      <a16:colId xmlns:a16="http://schemas.microsoft.com/office/drawing/2014/main" val="3305198194"/>
                    </a:ext>
                  </a:extLst>
                </a:gridCol>
                <a:gridCol w="1279129">
                  <a:extLst>
                    <a:ext uri="{9D8B030D-6E8A-4147-A177-3AD203B41FA5}">
                      <a16:colId xmlns:a16="http://schemas.microsoft.com/office/drawing/2014/main" val="228468928"/>
                    </a:ext>
                  </a:extLst>
                </a:gridCol>
                <a:gridCol w="1622019">
                  <a:extLst>
                    <a:ext uri="{9D8B030D-6E8A-4147-A177-3AD203B41FA5}">
                      <a16:colId xmlns:a16="http://schemas.microsoft.com/office/drawing/2014/main" val="1764421017"/>
                    </a:ext>
                  </a:extLst>
                </a:gridCol>
                <a:gridCol w="2087157">
                  <a:extLst>
                    <a:ext uri="{9D8B030D-6E8A-4147-A177-3AD203B41FA5}">
                      <a16:colId xmlns:a16="http://schemas.microsoft.com/office/drawing/2014/main" val="2487229554"/>
                    </a:ext>
                  </a:extLst>
                </a:gridCol>
              </a:tblGrid>
              <a:tr h="6650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8139" marR="8139" marT="81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Показатели </a:t>
                      </a:r>
                      <a:r>
                        <a:rPr lang="ru-RU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а 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остижения показателей эффективности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чины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обоснование) </a:t>
                      </a:r>
                      <a:r>
                        <a:rPr lang="ru-RU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достижения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показателей эффективности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174258"/>
                  </a:ext>
                </a:extLst>
              </a:tr>
              <a:tr h="203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139" marR="8139" marT="81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429827"/>
                  </a:ext>
                </a:extLst>
              </a:tr>
              <a:tr h="10173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139" marR="8139" marT="81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износа основных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редств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тверждались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тверждались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знос снизился от </a:t>
                      </a:r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4% до 5%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гнут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сутствуют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0012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9782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501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0" name="Слайд think-cell" r:id="rId50" imgW="594" imgH="595" progId="TCLayout.ActiveDocument.1">
                  <p:embed/>
                </p:oleObj>
              </mc:Choice>
              <mc:Fallback>
                <p:oleObj name="Слайд think-cell" r:id="rId50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203" y="115409"/>
            <a:ext cx="10178542" cy="704850"/>
          </a:xfrm>
        </p:spPr>
        <p:txBody>
          <a:bodyPr vert="horz"/>
          <a:lstStyle/>
          <a:p>
            <a:r>
              <a:rPr lang="ru-RU" dirty="0" smtClean="0">
                <a:solidFill>
                  <a:srgbClr val="DB700F"/>
                </a:solidFill>
              </a:rPr>
              <a:t>Информация об основных финансово - экономических показателях</a:t>
            </a:r>
            <a:r>
              <a:rPr lang="en-US" dirty="0" smtClean="0">
                <a:solidFill>
                  <a:srgbClr val="DB700F"/>
                </a:solidFill>
              </a:rPr>
              <a:t> </a:t>
            </a:r>
            <a:r>
              <a:rPr lang="ru-RU" dirty="0" smtClean="0">
                <a:solidFill>
                  <a:srgbClr val="DB700F"/>
                </a:solidFill>
              </a:rPr>
              <a:t>по </a:t>
            </a:r>
            <a:r>
              <a:rPr lang="ru-RU" dirty="0">
                <a:solidFill>
                  <a:srgbClr val="DB700F"/>
                </a:solidFill>
              </a:rPr>
              <a:t>услуге производство тепловой </a:t>
            </a:r>
            <a:r>
              <a:rPr lang="ru-RU" dirty="0" smtClean="0">
                <a:solidFill>
                  <a:srgbClr val="DB700F"/>
                </a:solidFill>
              </a:rPr>
              <a:t>энергии и </a:t>
            </a:r>
            <a:r>
              <a:rPr lang="ru-RU" dirty="0">
                <a:solidFill>
                  <a:srgbClr val="DB700F"/>
                </a:solidFill>
              </a:rPr>
              <a:t>об объемах предоставленных регулируемых услуг </a:t>
            </a:r>
            <a:r>
              <a:rPr lang="ru-RU" dirty="0" smtClean="0">
                <a:solidFill>
                  <a:srgbClr val="DB700F"/>
                </a:solidFill>
              </a:rPr>
              <a:t/>
            </a:r>
            <a:br>
              <a:rPr lang="ru-RU" dirty="0" smtClean="0">
                <a:solidFill>
                  <a:srgbClr val="DB700F"/>
                </a:solidFill>
              </a:rPr>
            </a:b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48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9932529"/>
              </p:ext>
            </p:extLst>
          </p:nvPr>
        </p:nvGraphicFramePr>
        <p:xfrm>
          <a:off x="539750" y="2090738"/>
          <a:ext cx="2643188" cy="270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62" name="Прямоугольник 61"/>
          <p:cNvSpPr/>
          <p:nvPr>
            <p:custDataLst>
              <p:tags r:id="rId4"/>
            </p:custDataLst>
          </p:nvPr>
        </p:nvSpPr>
        <p:spPr bwMode="auto">
          <a:xfrm>
            <a:off x="1379538" y="4629151"/>
            <a:ext cx="373063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1C2339-F842-4C28-B446-DD5D2089B96F}" type="datetime'Д''''о''ход'','''' млн''.'' ''т''''''''''е''''''''н''г''''е '">
              <a:rPr lang="ru-RU" altLang="en-US" sz="900" smtClean="0">
                <a:solidFill>
                  <a:schemeClr val="tx1"/>
                </a:solidFill>
              </a:rPr>
              <a:pPr/>
              <a:t>Доход, млн. тенге 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5"/>
            </p:custDataLst>
          </p:nvPr>
        </p:nvSpPr>
        <p:spPr bwMode="auto">
          <a:xfrm>
            <a:off x="1871663" y="4629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B0F414-B618-4048-B95F-AE22BAA411A8}" type="datetime'зат''рат''''ы'', м''''''''л''''н''''''''.'''' ''т''е''нге'">
              <a:rPr lang="ru-RU" altLang="en-US" sz="900" smtClean="0">
                <a:solidFill>
                  <a:schemeClr val="tx1"/>
                </a:solidFill>
              </a:rPr>
              <a:pPr/>
              <a:t>затраты, млн. тенг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5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87555445"/>
              </p:ext>
            </p:extLst>
          </p:nvPr>
        </p:nvGraphicFramePr>
        <p:xfrm>
          <a:off x="-577850" y="1490663"/>
          <a:ext cx="2801938" cy="3305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8" name="Прямоугольник 7"/>
          <p:cNvSpPr/>
          <p:nvPr>
            <p:custDataLst>
              <p:tags r:id="rId7"/>
            </p:custDataLst>
          </p:nvPr>
        </p:nvSpPr>
        <p:spPr bwMode="gray">
          <a:xfrm>
            <a:off x="711200" y="4527551"/>
            <a:ext cx="222250" cy="1238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8175C13-386E-4FFD-BCCD-19D95F01E88D}" type="datetime'''''''''''''''3''''''''''''''''1''''''''''''''''3'''''">
              <a:rPr lang="ru-RU" alt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13</a:t>
            </a:fld>
            <a:endParaRPr lang="ru-RU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>
            <p:custDataLst>
              <p:tags r:id="rId8"/>
            </p:custDataLst>
          </p:nvPr>
        </p:nvSpPr>
        <p:spPr bwMode="auto">
          <a:xfrm>
            <a:off x="457200" y="4689475"/>
            <a:ext cx="731838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B9FA04-D5C2-4B3D-8964-EAEF94709E6D}" type="datetime'''об''''ъем ''''о''казыва''е''мых'''' ''усл''уг'','' Гка''''л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бъем оказываемых услуг, Гкал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9"/>
            </p:custDataLst>
          </p:nvPr>
        </p:nvSpPr>
        <p:spPr bwMode="gray">
          <a:xfrm>
            <a:off x="600075" y="1546226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EC5089-E2BD-4CCA-9BAE-E5A1A2289BB1}" type="datetime'5''''''''''''''5''8'''''''''''''''' ''36''''''4''''''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58 364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44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62013473"/>
              </p:ext>
            </p:extLst>
          </p:nvPr>
        </p:nvGraphicFramePr>
        <p:xfrm>
          <a:off x="2035175" y="3232150"/>
          <a:ext cx="2960688" cy="15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82" name="Прямоугольник 81"/>
          <p:cNvSpPr/>
          <p:nvPr>
            <p:custDataLst>
              <p:tags r:id="rId11"/>
            </p:custDataLst>
          </p:nvPr>
        </p:nvSpPr>
        <p:spPr bwMode="auto">
          <a:xfrm>
            <a:off x="3094038" y="4629150"/>
            <a:ext cx="84296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D6B086-B519-41DE-B9B3-A7ED7A4F8509}" type="datetime'''''се''бе''ст''''''''о''имо''ст''''ь, ''те''''нг''е/Гка''л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бестоимость, тенге/Гкал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46" name="Chart 3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70142297"/>
              </p:ext>
            </p:extLst>
          </p:nvPr>
        </p:nvGraphicFramePr>
        <p:xfrm>
          <a:off x="1897063" y="3722688"/>
          <a:ext cx="1849437" cy="107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78" name="Прямоугольник 77"/>
          <p:cNvSpPr/>
          <p:nvPr>
            <p:custDataLst>
              <p:tags r:id="rId13"/>
            </p:custDataLst>
          </p:nvPr>
        </p:nvSpPr>
        <p:spPr bwMode="auto">
          <a:xfrm>
            <a:off x="2535238" y="4629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1D3699A-0920-4D58-BBCF-0B1F4397E4AB}" type="datetime'у''б''ы''т''''''о''''''''''к,'''' ''''м''''лн''''. т''ен''ге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убыток, млн. тенг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119"/>
          <p:cNvSpPr/>
          <p:nvPr/>
        </p:nvSpPr>
        <p:spPr>
          <a:xfrm>
            <a:off x="0" y="5785979"/>
            <a:ext cx="12192000" cy="462331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е тарифы </a:t>
            </a:r>
            <a:r>
              <a:rPr lang="ru-RU" dirty="0"/>
              <a:t>не </a:t>
            </a:r>
            <a:r>
              <a:rPr lang="ru-RU" dirty="0" smtClean="0"/>
              <a:t>компенсирую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9" name="Freeform 140"/>
          <p:cNvSpPr/>
          <p:nvPr/>
        </p:nvSpPr>
        <p:spPr>
          <a:xfrm>
            <a:off x="323203" y="1340213"/>
            <a:ext cx="5380911" cy="3838212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Основные финансово-экономические показатели за 2025 год</a:t>
            </a: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30" name="Freeform 140"/>
          <p:cNvSpPr/>
          <p:nvPr/>
        </p:nvSpPr>
        <p:spPr>
          <a:xfrm>
            <a:off x="6320735" y="1340213"/>
            <a:ext cx="4948156" cy="3838212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Объемы </a:t>
            </a:r>
            <a:r>
              <a:rPr lang="ru-RU" sz="1200" dirty="0">
                <a:solidFill>
                  <a:schemeClr val="accent1"/>
                </a:solidFill>
              </a:rPr>
              <a:t>предоставленных регулируемых </a:t>
            </a:r>
            <a:r>
              <a:rPr lang="ru-RU" sz="1200" dirty="0" smtClean="0">
                <a:solidFill>
                  <a:schemeClr val="accent1"/>
                </a:solidFill>
              </a:rPr>
              <a:t>услуг за 2025 год , Гкал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56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1321826"/>
              </p:ext>
            </p:extLst>
          </p:nvPr>
        </p:nvGraphicFramePr>
        <p:xfrm>
          <a:off x="3052763" y="3302000"/>
          <a:ext cx="2960687" cy="149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9" name="Прямоугольник 8"/>
          <p:cNvSpPr/>
          <p:nvPr>
            <p:custDataLst>
              <p:tags r:id="rId15"/>
            </p:custDataLst>
          </p:nvPr>
        </p:nvSpPr>
        <p:spPr bwMode="auto">
          <a:xfrm>
            <a:off x="3952875" y="4629151"/>
            <a:ext cx="5461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DEB405-F5AB-4BC3-A801-8AE28D420F5C}" type="datetime'''''с'''''''''''' ''''''01''''''.''01''''''.''''2''''5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 01.01.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16"/>
            </p:custDataLst>
          </p:nvPr>
        </p:nvSpPr>
        <p:spPr bwMode="auto">
          <a:xfrm>
            <a:off x="4565650" y="4629151"/>
            <a:ext cx="5461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34513A-5324-471C-BF71-2EC155858B21}" type="datetime'с'''' ''''0''''''1.''''0''''''''''''8''.''''''''''''''2''''5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 01.08.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44" name="Прямоугольник 143"/>
          <p:cNvSpPr/>
          <p:nvPr>
            <p:custDataLst>
              <p:tags r:id="rId17"/>
            </p:custDataLst>
          </p:nvPr>
        </p:nvSpPr>
        <p:spPr bwMode="auto">
          <a:xfrm>
            <a:off x="404813" y="5327650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5" name="Прямоугольник 144"/>
          <p:cNvSpPr/>
          <p:nvPr>
            <p:custDataLst>
              <p:tags r:id="rId18"/>
            </p:custDataLst>
          </p:nvPr>
        </p:nvSpPr>
        <p:spPr bwMode="auto">
          <a:xfrm>
            <a:off x="404813" y="5514975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1" name="Прямоугольник 140"/>
          <p:cNvSpPr/>
          <p:nvPr>
            <p:custDataLst>
              <p:tags r:id="rId19"/>
            </p:custDataLst>
          </p:nvPr>
        </p:nvSpPr>
        <p:spPr bwMode="auto">
          <a:xfrm>
            <a:off x="615950" y="5324475"/>
            <a:ext cx="34448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E4C839-6C0A-4097-AA02-C753E48430FD}" type="datetime'''''''''в'''' ''''''п''''''''''а''''р''''''е''''''''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в пар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42" name="Прямоугольник 141"/>
          <p:cNvSpPr/>
          <p:nvPr>
            <p:custDataLst>
              <p:tags r:id="rId20"/>
            </p:custDataLst>
          </p:nvPr>
        </p:nvSpPr>
        <p:spPr bwMode="auto">
          <a:xfrm>
            <a:off x="615950" y="5511800"/>
            <a:ext cx="7953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5C3E680-292E-47F6-98E4-D6D3EC1F0177}" type="datetime'в'''''' ''''''г''ор''я''''че''''й'''''' ''''''во''д''е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в горячей вод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21"/>
            </p:custDataLst>
          </p:nvPr>
        </p:nvSpPr>
        <p:spPr bwMode="auto">
          <a:xfrm>
            <a:off x="4025899" y="5292725"/>
            <a:ext cx="160338" cy="1206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8" name="Прямоугольник 147"/>
          <p:cNvSpPr/>
          <p:nvPr>
            <p:custDataLst>
              <p:tags r:id="rId22"/>
            </p:custDataLst>
          </p:nvPr>
        </p:nvSpPr>
        <p:spPr bwMode="auto">
          <a:xfrm>
            <a:off x="4237038" y="5289550"/>
            <a:ext cx="9588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8411449-4FBC-4C19-B5ED-946697F5A07F}" type="datetime'т''''ари''ф'''''', т''е''''нге''''''/Г''''''''''к''а''''''''л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тариф, 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87" name="Chart 3"/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114270128"/>
              </p:ext>
            </p:extLst>
          </p:nvPr>
        </p:nvGraphicFramePr>
        <p:xfrm>
          <a:off x="6561138" y="1927225"/>
          <a:ext cx="2906712" cy="292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 useBgFill="1">
        <p:nvSpPr>
          <p:cNvPr id="34" name="Полилиния 33"/>
          <p:cNvSpPr/>
          <p:nvPr>
            <p:custDataLst>
              <p:tags r:id="rId24"/>
            </p:custDataLst>
          </p:nvPr>
        </p:nvSpPr>
        <p:spPr bwMode="auto">
          <a:xfrm>
            <a:off x="6751638" y="3590926"/>
            <a:ext cx="792163" cy="269875"/>
          </a:xfrm>
          <a:custGeom>
            <a:avLst/>
            <a:gdLst/>
            <a:ahLst/>
            <a:cxnLst/>
            <a:rect l="0" t="0" r="0" b="0"/>
            <a:pathLst>
              <a:path w="792163" h="269876">
                <a:moveTo>
                  <a:pt x="0" y="212725"/>
                </a:moveTo>
                <a:lnTo>
                  <a:pt x="792162" y="0"/>
                </a:lnTo>
                <a:lnTo>
                  <a:pt x="792162" y="57150"/>
                </a:lnTo>
                <a:lnTo>
                  <a:pt x="0" y="2698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 useBgFill="1">
        <p:nvSpPr>
          <p:cNvPr id="37" name="Полилиния 36"/>
          <p:cNvSpPr/>
          <p:nvPr>
            <p:custDataLst>
              <p:tags r:id="rId25"/>
            </p:custDataLst>
          </p:nvPr>
        </p:nvSpPr>
        <p:spPr bwMode="auto">
          <a:xfrm>
            <a:off x="8123238" y="3590926"/>
            <a:ext cx="792163" cy="269875"/>
          </a:xfrm>
          <a:custGeom>
            <a:avLst/>
            <a:gdLst/>
            <a:ahLst/>
            <a:cxnLst/>
            <a:rect l="0" t="0" r="0" b="0"/>
            <a:pathLst>
              <a:path w="792163" h="269876">
                <a:moveTo>
                  <a:pt x="0" y="212725"/>
                </a:moveTo>
                <a:lnTo>
                  <a:pt x="792162" y="0"/>
                </a:lnTo>
                <a:lnTo>
                  <a:pt x="792162" y="57150"/>
                </a:lnTo>
                <a:lnTo>
                  <a:pt x="0" y="2698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 useBgFill="1">
        <p:nvSpPr>
          <p:cNvPr id="58" name="Полилиния 57"/>
          <p:cNvSpPr/>
          <p:nvPr>
            <p:custDataLst>
              <p:tags r:id="rId26"/>
            </p:custDataLst>
          </p:nvPr>
        </p:nvSpPr>
        <p:spPr bwMode="auto">
          <a:xfrm>
            <a:off x="6751638" y="2914650"/>
            <a:ext cx="792163" cy="269876"/>
          </a:xfrm>
          <a:custGeom>
            <a:avLst/>
            <a:gdLst/>
            <a:ahLst/>
            <a:cxnLst/>
            <a:rect l="0" t="0" r="0" b="0"/>
            <a:pathLst>
              <a:path w="792163" h="269876">
                <a:moveTo>
                  <a:pt x="0" y="212725"/>
                </a:moveTo>
                <a:lnTo>
                  <a:pt x="792162" y="0"/>
                </a:lnTo>
                <a:lnTo>
                  <a:pt x="792162" y="57150"/>
                </a:lnTo>
                <a:lnTo>
                  <a:pt x="0" y="2698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2" name="Полилиния 31"/>
          <p:cNvSpPr/>
          <p:nvPr>
            <p:custDataLst>
              <p:tags r:id="rId27"/>
            </p:custDataLst>
          </p:nvPr>
        </p:nvSpPr>
        <p:spPr bwMode="auto">
          <a:xfrm>
            <a:off x="6751638" y="3590926"/>
            <a:ext cx="792163" cy="212725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олилиния 32"/>
          <p:cNvSpPr/>
          <p:nvPr>
            <p:custDataLst>
              <p:tags r:id="rId28"/>
            </p:custDataLst>
          </p:nvPr>
        </p:nvSpPr>
        <p:spPr bwMode="auto">
          <a:xfrm>
            <a:off x="6751638" y="3648076"/>
            <a:ext cx="792163" cy="212725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олилиния 34"/>
          <p:cNvSpPr/>
          <p:nvPr>
            <p:custDataLst>
              <p:tags r:id="rId29"/>
            </p:custDataLst>
          </p:nvPr>
        </p:nvSpPr>
        <p:spPr bwMode="auto">
          <a:xfrm>
            <a:off x="8123238" y="3590926"/>
            <a:ext cx="792163" cy="212725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олилиния 35"/>
          <p:cNvSpPr/>
          <p:nvPr>
            <p:custDataLst>
              <p:tags r:id="rId30"/>
            </p:custDataLst>
          </p:nvPr>
        </p:nvSpPr>
        <p:spPr bwMode="auto">
          <a:xfrm>
            <a:off x="8123238" y="3648076"/>
            <a:ext cx="792163" cy="212725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олилиния 50"/>
          <p:cNvSpPr/>
          <p:nvPr>
            <p:custDataLst>
              <p:tags r:id="rId31"/>
            </p:custDataLst>
          </p:nvPr>
        </p:nvSpPr>
        <p:spPr bwMode="auto">
          <a:xfrm>
            <a:off x="6751638" y="2914650"/>
            <a:ext cx="792163" cy="212726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олилиния 53"/>
          <p:cNvSpPr/>
          <p:nvPr>
            <p:custDataLst>
              <p:tags r:id="rId32"/>
            </p:custDataLst>
          </p:nvPr>
        </p:nvSpPr>
        <p:spPr bwMode="auto">
          <a:xfrm>
            <a:off x="6751638" y="2971800"/>
            <a:ext cx="792163" cy="212726"/>
          </a:xfrm>
          <a:custGeom>
            <a:avLst/>
            <a:gdLst/>
            <a:ahLst/>
            <a:cxnLst/>
            <a:rect l="0" t="0" r="0" b="0"/>
            <a:pathLst>
              <a:path w="792163" h="212726">
                <a:moveTo>
                  <a:pt x="0" y="212725"/>
                </a:moveTo>
                <a:lnTo>
                  <a:pt x="792162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6" name="Прямая соединительная линия 25"/>
          <p:cNvCxnSpPr/>
          <p:nvPr>
            <p:custDataLst>
              <p:tags r:id="rId33"/>
            </p:custDataLst>
          </p:nvPr>
        </p:nvCxnSpPr>
        <p:spPr bwMode="auto">
          <a:xfrm flipV="1">
            <a:off x="6967538" y="186848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>
            <p:custDataLst>
              <p:tags r:id="rId34"/>
            </p:custDataLst>
          </p:nvPr>
        </p:nvCxnSpPr>
        <p:spPr bwMode="auto">
          <a:xfrm>
            <a:off x="6967538" y="1868488"/>
            <a:ext cx="137001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>
            <p:custDataLst>
              <p:tags r:id="rId35"/>
            </p:custDataLst>
          </p:nvPr>
        </p:nvCxnSpPr>
        <p:spPr bwMode="auto">
          <a:xfrm>
            <a:off x="8337550" y="1868489"/>
            <a:ext cx="0" cy="11541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>
            <p:custDataLst>
              <p:tags r:id="rId36"/>
            </p:custDataLst>
          </p:nvPr>
        </p:nvSpPr>
        <p:spPr bwMode="auto">
          <a:xfrm>
            <a:off x="6884988" y="4681538"/>
            <a:ext cx="8874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DD7E21-A176-46E1-A4E2-121C6761FD65}" type="datetime'учте''''н''''''о в ''т''ари''''ф''''но''''й см''ет''''е''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учтено в тарифной смет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37"/>
            </p:custDataLst>
          </p:nvPr>
        </p:nvSpPr>
        <p:spPr bwMode="auto">
          <a:xfrm>
            <a:off x="8286750" y="4681539"/>
            <a:ext cx="8255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283400-AE16-4932-8A99-8E581E1BC204}" type="datetime'''''факт'' 2''0''2''''''''5'' г''''''''''''''о''д''''а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акт 2025 года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38"/>
            </p:custDataLst>
          </p:nvPr>
        </p:nvSpPr>
        <p:spPr bwMode="gray">
          <a:xfrm>
            <a:off x="6745288" y="1982789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FC256E-649F-42BE-B465-35553BEBD84D}" type="datetime'5''9''''''''''5'''''''''''''' ''28''''''''0''''''''''''''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95 280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39"/>
            </p:custDataLst>
          </p:nvPr>
        </p:nvSpPr>
        <p:spPr bwMode="gray">
          <a:xfrm>
            <a:off x="7158038" y="2740025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ED7F4B-2A44-4114-A906-DF0EADC9FC3C}" type="datetime'''''''5''''''''''''''''94 ''''''6''''''''''1''''''''6''''''''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94 61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40"/>
            </p:custDataLst>
          </p:nvPr>
        </p:nvSpPr>
        <p:spPr bwMode="gray">
          <a:xfrm>
            <a:off x="8115300" y="3060700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144E6B4-88FA-4AA3-857E-70910D57555A}" type="datetime'''''''55''''''''''''''''''8'''''' 3''''''''''''''64''''''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58 36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41"/>
            </p:custDataLst>
          </p:nvPr>
        </p:nvSpPr>
        <p:spPr bwMode="gray">
          <a:xfrm>
            <a:off x="8528050" y="3416300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C2FD40A-C225-4F07-AECC-8B38E9A4E149}" type="datetime'''''5''''''''5''8'''''''''''''''''''''' ''0''51''''''''''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58 051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Овал 23"/>
          <p:cNvSpPr/>
          <p:nvPr>
            <p:custDataLst>
              <p:tags r:id="rId42"/>
            </p:custDataLst>
          </p:nvPr>
        </p:nvSpPr>
        <p:spPr bwMode="auto">
          <a:xfrm>
            <a:off x="7507288" y="1771650"/>
            <a:ext cx="288925" cy="19367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4EA528-BC5B-4734-A722-441108122177}" type="datetime'''-''''''6''''''''%'''''''''''''''''''''">
              <a:rPr lang="ru-RU" altLang="en-US" sz="9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6%</a:t>
            </a:fld>
            <a:endParaRPr lang="ru-RU" sz="900" b="1" dirty="0">
              <a:solidFill>
                <a:schemeClr val="tx1"/>
              </a:solidFill>
            </a:endParaRPr>
          </a:p>
        </p:txBody>
      </p:sp>
      <p:sp>
        <p:nvSpPr>
          <p:cNvPr id="161" name="Прямоугольник 160"/>
          <p:cNvSpPr/>
          <p:nvPr>
            <p:custDataLst>
              <p:tags r:id="rId43"/>
            </p:custDataLst>
          </p:nvPr>
        </p:nvSpPr>
        <p:spPr bwMode="auto">
          <a:xfrm>
            <a:off x="9431338" y="3463925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2" name="Прямоугольник 161"/>
          <p:cNvSpPr/>
          <p:nvPr>
            <p:custDataLst>
              <p:tags r:id="rId44"/>
            </p:custDataLst>
          </p:nvPr>
        </p:nvSpPr>
        <p:spPr bwMode="auto">
          <a:xfrm>
            <a:off x="9431338" y="3651250"/>
            <a:ext cx="160338" cy="120650"/>
          </a:xfrm>
          <a:prstGeom prst="rect">
            <a:avLst/>
          </a:prstGeom>
          <a:solidFill>
            <a:srgbClr val="96969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3" name="Прямоугольник 162"/>
          <p:cNvSpPr/>
          <p:nvPr>
            <p:custDataLst>
              <p:tags r:id="rId45"/>
            </p:custDataLst>
          </p:nvPr>
        </p:nvSpPr>
        <p:spPr bwMode="auto">
          <a:xfrm>
            <a:off x="9431338" y="3838575"/>
            <a:ext cx="160338" cy="120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4" name="Прямоугольник 163"/>
          <p:cNvSpPr/>
          <p:nvPr>
            <p:custDataLst>
              <p:tags r:id="rId46"/>
            </p:custDataLst>
          </p:nvPr>
        </p:nvSpPr>
        <p:spPr bwMode="auto">
          <a:xfrm>
            <a:off x="9642475" y="3460750"/>
            <a:ext cx="20224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E32B484-303D-46B0-A987-DDFD7C84FE07}" type="datetime'''в''с''ег''о о''бъ''ем ока''з''ывае''мых ''''услуг, в'' т.ч'">
              <a:rPr lang="ru-RU" altLang="en-US" sz="900" smtClean="0">
                <a:solidFill>
                  <a:schemeClr val="tx1"/>
                </a:solidFill>
              </a:rPr>
              <a:pPr/>
              <a:t>всего объем оказываемых услуг, в т.ч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5" name="Прямоугольник 164"/>
          <p:cNvSpPr/>
          <p:nvPr>
            <p:custDataLst>
              <p:tags r:id="rId47"/>
            </p:custDataLst>
          </p:nvPr>
        </p:nvSpPr>
        <p:spPr bwMode="auto">
          <a:xfrm>
            <a:off x="9642475" y="3648075"/>
            <a:ext cx="23399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48B13EA-0E6E-4ABF-82A7-4F67D93E7BC5}" type="datetime'''''''Г''КП «''Куатж''ы''луорталык''-3» (в горя''чей вод''е)'">
              <a:rPr lang="ru-RU" altLang="en-US" sz="900" smtClean="0">
                <a:solidFill>
                  <a:schemeClr val="tx1"/>
                </a:solidFill>
              </a:rPr>
              <a:pPr/>
              <a:t>ГКП «Куатжылуорталык-3» (в горячей воде)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6" name="Прямоугольник 165"/>
          <p:cNvSpPr/>
          <p:nvPr>
            <p:custDataLst>
              <p:tags r:id="rId48"/>
            </p:custDataLst>
          </p:nvPr>
        </p:nvSpPr>
        <p:spPr bwMode="auto">
          <a:xfrm>
            <a:off x="9642476" y="3835400"/>
            <a:ext cx="13620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8BE9C4B-F9F7-4C78-844B-4DC17FEBE07D}" type="datetime'''И''''П'' «Берда''л''ие''''в''''» ''''(''в ''''''п''аре)'">
              <a:rPr lang="ru-RU" altLang="en-US" sz="900" smtClean="0">
                <a:solidFill>
                  <a:schemeClr val="tx1"/>
                </a:solidFill>
              </a:rPr>
              <a:pPr/>
              <a:t>ИП «Бердалиев» (в паре)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98" name="TextBox 197"/>
          <p:cNvSpPr txBox="1"/>
          <p:nvPr/>
        </p:nvSpPr>
        <p:spPr>
          <a:xfrm>
            <a:off x="323203" y="6313028"/>
            <a:ext cx="3125391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/>
              <a:t>*тарифы в 2025 году:</a:t>
            </a:r>
          </a:p>
          <a:p>
            <a:r>
              <a:rPr lang="ru-RU" sz="800" dirty="0" smtClean="0"/>
              <a:t>С 01.01.2025 - утвержденный </a:t>
            </a:r>
            <a:r>
              <a:rPr lang="ru-RU" sz="800" dirty="0"/>
              <a:t>тариф в рамках </a:t>
            </a:r>
            <a:r>
              <a:rPr lang="ru-RU" sz="800" dirty="0" smtClean="0"/>
              <a:t>2025-2026г</a:t>
            </a:r>
            <a:endParaRPr lang="ru-RU" sz="800" dirty="0"/>
          </a:p>
          <a:p>
            <a:r>
              <a:rPr lang="ru-RU" sz="800" dirty="0" smtClean="0"/>
              <a:t>*с 01.08.2025 - увеличение тарифа в  </a:t>
            </a:r>
            <a:r>
              <a:rPr lang="ru-RU" sz="800" dirty="0"/>
              <a:t>связи </a:t>
            </a:r>
            <a:r>
              <a:rPr lang="ru-RU" sz="800" dirty="0" smtClean="0"/>
              <a:t>с ростом цены газа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614057" y="6331131"/>
            <a:ext cx="8050893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/>
              <a:t>** Фактическая </a:t>
            </a:r>
            <a:r>
              <a:rPr lang="ru-RU" sz="800" dirty="0"/>
              <a:t>себестоимость (6 485,13 тенге/Гкал) выше утвержденного </a:t>
            </a:r>
            <a:r>
              <a:rPr lang="ru-RU" sz="800" dirty="0" err="1"/>
              <a:t>среднеотпускного</a:t>
            </a:r>
            <a:r>
              <a:rPr lang="ru-RU" sz="800" dirty="0"/>
              <a:t> тарифа </a:t>
            </a:r>
            <a:r>
              <a:rPr lang="ru-RU" sz="800" dirty="0" smtClean="0"/>
              <a:t>(6 365,2 </a:t>
            </a:r>
            <a:r>
              <a:rPr lang="ru-RU" sz="800" dirty="0"/>
              <a:t>тенге/Гкал), утвержденного уполномоченным органом</a:t>
            </a:r>
          </a:p>
        </p:txBody>
      </p:sp>
    </p:spTree>
    <p:extLst>
      <p:ext uri="{BB962C8B-B14F-4D97-AF65-F5344CB8AC3E}">
        <p14:creationId xmlns:p14="http://schemas.microsoft.com/office/powerpoint/2010/main" val="1415478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627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59" name="Слайд think-cell" r:id="rId6" imgW="594" imgH="595" progId="TCLayout.ActiveDocument.1">
                  <p:embed/>
                </p:oleObj>
              </mc:Choice>
              <mc:Fallback>
                <p:oleObj name="Слайд think-cell" r:id="rId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rgbClr val="DB700F"/>
                </a:solidFill>
              </a:rPr>
              <a:t>Информация о проводимой работе с </a:t>
            </a:r>
            <a:r>
              <a:rPr lang="ru-RU" dirty="0" smtClean="0">
                <a:solidFill>
                  <a:srgbClr val="DB700F"/>
                </a:solidFill>
              </a:rPr>
              <a:t>потребителями</a:t>
            </a:r>
            <a:r>
              <a:rPr lang="en-US" dirty="0" smtClean="0">
                <a:solidFill>
                  <a:srgbClr val="DB700F"/>
                </a:solidFill>
              </a:rPr>
              <a:t> </a:t>
            </a:r>
            <a:r>
              <a:rPr lang="ru-RU" dirty="0" smtClean="0">
                <a:solidFill>
                  <a:srgbClr val="DB700F"/>
                </a:solidFill>
              </a:rPr>
              <a:t>регулируемых </a:t>
            </a:r>
            <a:r>
              <a:rPr lang="ru-RU" dirty="0">
                <a:solidFill>
                  <a:srgbClr val="DB700F"/>
                </a:solidFill>
              </a:rPr>
              <a:t>услуг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699088" y="3397392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8785417" y="5048074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4900" y="3003202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3-Энергоорталы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 bwMode="gray">
          <a:xfrm>
            <a:off x="4465536" y="1577046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30" name="Прямоугольник 29"/>
          <p:cNvSpPr/>
          <p:nvPr/>
        </p:nvSpPr>
        <p:spPr bwMode="gray">
          <a:xfrm>
            <a:off x="7204203" y="1577046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936774" y="1577046"/>
            <a:ext cx="1438275" cy="3671888"/>
            <a:chOff x="2432720" y="2258870"/>
            <a:chExt cx="1438524" cy="3672000"/>
          </a:xfrm>
        </p:grpSpPr>
        <p:sp>
          <p:nvSpPr>
            <p:cNvPr id="32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33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Rectangle 38"/>
          <p:cNvSpPr>
            <a:spLocks noChangeArrowheads="1"/>
          </p:cNvSpPr>
          <p:nvPr/>
        </p:nvSpPr>
        <p:spPr bwMode="gray">
          <a:xfrm>
            <a:off x="2628799" y="3029608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35" name="Rectangle 38"/>
          <p:cNvSpPr>
            <a:spLocks noChangeArrowheads="1"/>
          </p:cNvSpPr>
          <p:nvPr/>
        </p:nvSpPr>
        <p:spPr bwMode="gray">
          <a:xfrm>
            <a:off x="2628799" y="3496333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36" name="Rectangle 38"/>
          <p:cNvSpPr>
            <a:spLocks noChangeArrowheads="1"/>
          </p:cNvSpPr>
          <p:nvPr/>
        </p:nvSpPr>
        <p:spPr bwMode="gray">
          <a:xfrm>
            <a:off x="2628799" y="3997983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37" name="Gerade Verbindung 14"/>
          <p:cNvCxnSpPr/>
          <p:nvPr/>
        </p:nvCxnSpPr>
        <p:spPr bwMode="auto">
          <a:xfrm>
            <a:off x="4465536" y="1351621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38" name="Rectangle 34"/>
          <p:cNvSpPr>
            <a:spLocks noChangeArrowheads="1"/>
          </p:cNvSpPr>
          <p:nvPr/>
        </p:nvSpPr>
        <p:spPr bwMode="auto">
          <a:xfrm>
            <a:off x="4465536" y="845208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ounded Rectangle 526"/>
          <p:cNvSpPr/>
          <p:nvPr/>
        </p:nvSpPr>
        <p:spPr bwMode="gray">
          <a:xfrm>
            <a:off x="4465536" y="2027896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беспечивается </a:t>
            </a:r>
            <a:r>
              <a:rPr lang="ru-RU" sz="1400" dirty="0">
                <a:latin typeface="+mn-lt"/>
              </a:rPr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существляется в </a:t>
            </a:r>
            <a:r>
              <a:rPr lang="ru-RU" sz="1400" dirty="0">
                <a:latin typeface="+mn-lt"/>
              </a:rPr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>
                <a:latin typeface="+mn-lt"/>
              </a:rPr>
              <a:t>.</a:t>
            </a:r>
            <a:endParaRPr lang="ru-RU" sz="1400" dirty="0">
              <a:latin typeface="+mn-lt"/>
            </a:endParaRPr>
          </a:p>
        </p:txBody>
      </p:sp>
      <p:sp>
        <p:nvSpPr>
          <p:cNvPr id="40" name="Rounded Rectangle 526"/>
          <p:cNvSpPr/>
          <p:nvPr/>
        </p:nvSpPr>
        <p:spPr bwMode="gray">
          <a:xfrm>
            <a:off x="7204203" y="2027896"/>
            <a:ext cx="242157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latin typeface="+mn-lt"/>
              </a:rPr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>
                <a:latin typeface="+mn-lt"/>
              </a:rPr>
              <a:t>оценки проекта </a:t>
            </a:r>
            <a:endParaRPr lang="ru-RU" sz="1400" dirty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41" name="Freeform 223"/>
          <p:cNvSpPr>
            <a:spLocks noEditPoints="1"/>
          </p:cNvSpPr>
          <p:nvPr/>
        </p:nvSpPr>
        <p:spPr bwMode="auto">
          <a:xfrm>
            <a:off x="5879204" y="924133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42" name="Соединительная линия уступом 41"/>
          <p:cNvCxnSpPr/>
          <p:nvPr/>
        </p:nvCxnSpPr>
        <p:spPr>
          <a:xfrm flipV="1">
            <a:off x="2410500" y="3318422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Соединительная линия уступом 42"/>
          <p:cNvCxnSpPr/>
          <p:nvPr/>
        </p:nvCxnSpPr>
        <p:spPr>
          <a:xfrm>
            <a:off x="2410500" y="3503584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>
            <a:stCxn id="35" idx="1"/>
          </p:cNvCxnSpPr>
          <p:nvPr/>
        </p:nvCxnSpPr>
        <p:spPr>
          <a:xfrm flipH="1">
            <a:off x="2525579" y="3693977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5" name="Прямоугольник 44"/>
          <p:cNvSpPr/>
          <p:nvPr/>
        </p:nvSpPr>
        <p:spPr bwMode="gray">
          <a:xfrm>
            <a:off x="9547810" y="1577046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46" name="Rounded Rectangle 526"/>
          <p:cNvSpPr/>
          <p:nvPr/>
        </p:nvSpPr>
        <p:spPr bwMode="gray">
          <a:xfrm>
            <a:off x="9547810" y="2027896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публикация уведомлений </a:t>
            </a:r>
            <a:r>
              <a:rPr lang="ru-RU" sz="1400" dirty="0">
                <a:latin typeface="+mn-lt"/>
              </a:rPr>
              <a:t>о времени и месте </a:t>
            </a:r>
            <a:r>
              <a:rPr lang="ru-RU" sz="1400" dirty="0" smtClean="0">
                <a:latin typeface="+mn-lt"/>
              </a:rPr>
              <a:t>публичных </a:t>
            </a:r>
            <a:r>
              <a:rPr lang="ru-RU" sz="1400" dirty="0">
                <a:latin typeface="+mn-lt"/>
              </a:rPr>
              <a:t>слушаний </a:t>
            </a:r>
            <a:r>
              <a:rPr lang="ru-RU" sz="1400" dirty="0" smtClean="0">
                <a:latin typeface="+mn-lt"/>
              </a:rPr>
              <a:t>в </a:t>
            </a:r>
            <a:r>
              <a:rPr lang="ru-RU" sz="1400" dirty="0">
                <a:latin typeface="+mn-lt"/>
              </a:rPr>
              <a:t>средствах массовой информации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  <a:latin typeface="+mn-lt"/>
              </a:rPr>
              <a:t>размещение обязательной информации в </a:t>
            </a:r>
            <a:r>
              <a:rPr lang="ru-RU" sz="1400" dirty="0">
                <a:latin typeface="+mn-lt"/>
              </a:rPr>
              <a:t>средствах массовой </a:t>
            </a:r>
            <a:r>
              <a:rPr lang="ru-RU" sz="1400" dirty="0" smtClean="0">
                <a:latin typeface="+mn-lt"/>
              </a:rPr>
              <a:t>информации, в том числе на </a:t>
            </a:r>
            <a:r>
              <a:rPr lang="ru-RU" sz="1400" dirty="0" err="1" smtClean="0">
                <a:latin typeface="+mn-lt"/>
              </a:rPr>
              <a:t>интернет-ресурсе</a:t>
            </a:r>
            <a:endParaRPr lang="ru-RU" sz="1400" dirty="0" smtClean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47" name="Group 488"/>
          <p:cNvGrpSpPr/>
          <p:nvPr/>
        </p:nvGrpSpPr>
        <p:grpSpPr>
          <a:xfrm>
            <a:off x="565600" y="3409934"/>
            <a:ext cx="371475" cy="371475"/>
            <a:chOff x="-2103438" y="3878264"/>
            <a:chExt cx="371475" cy="371475"/>
          </a:xfrm>
        </p:grpSpPr>
        <p:sp>
          <p:nvSpPr>
            <p:cNvPr id="48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9" name="Rectangle 2"/>
          <p:cNvSpPr/>
          <p:nvPr>
            <p:custDataLst>
              <p:tags r:id="rId3"/>
            </p:custDataLst>
          </p:nvPr>
        </p:nvSpPr>
        <p:spPr bwMode="auto">
          <a:xfrm>
            <a:off x="166688" y="5675313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60" name="Rectangle 2"/>
          <p:cNvSpPr/>
          <p:nvPr>
            <p:custDataLst>
              <p:tags r:id="rId4"/>
            </p:custDataLst>
          </p:nvPr>
        </p:nvSpPr>
        <p:spPr bwMode="auto">
          <a:xfrm>
            <a:off x="166688" y="6321425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768350" y="5454650"/>
            <a:ext cx="111902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E7D11"/>
              </a:buClr>
            </a:pP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Отопительный период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2025 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года прошел без технологических нарушений и сбоев в системе теплоснабжения. В течение отопительного периода  параметры теплоносителя в тепловых магистралях соответствовали ежедневным заявленным техническим заданиям от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ГКП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«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КуатЖылуОрталык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» на покупку тепловой энергии для потребителей города Шымкент. </a:t>
            </a:r>
            <a:endParaRPr lang="ru-RU" sz="1400" dirty="0" smtClean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92150" y="6426200"/>
            <a:ext cx="10922230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2025 год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44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psw8KPO4XCG679pLZe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1lHcEvBE2CYGHbD7u8i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CpBN_omobHs0LFQss_C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Ax3F1rkkovyoTGJr4aa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s7YJgJokczSPlKfhJkB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7GKPVfyYOpS1E2gsL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GyNTJZAaNcmDK0E4Qd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ENImmmCzhSLfYWEE6H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ap1JJi3XaP8vFSKgFd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vv33cwU_IcYxLytIno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EFAprd1Z3WzxYh0RSO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V2mekCGarIcDgkaIM.3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.2ZfBh2xQxNml2pTDV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dAnfILiH.bz5oFNUfY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zw.of2R2OZ6ftF9nTFN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LmuAF3rqpspaU8E94W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Y3jLPSTCd0Sr_2yXNG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hwwk2TJ0oxnfxHdjOX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nAve_upH4T0n7DH_8y0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WzwUJWjKMx0iWzfHI40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UCpDHWv4l5K_CBhmF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CAe2NuNdwv06HqPDNhg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SLoqzZyQsST4UVt_T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zFK.RDFX_d0eYL2yzx.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YAeFBPYPN9CzsN7Yio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BsgLvhaDXC_G6ouMs5E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lVeaIWaANYFccCKa9S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T8jZbVoOJ1Kntj0Aof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YKnYXrfAamXbZwX9RPd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R0ryC49z9DcB1lY6AH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zo2Z6TjXHY0E2ItsMW.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rCVUzswBgYQmVymlNyD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5k9gK0er6XxR9d_SCe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CrANAqVgwp97F_wCB_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I99mhzejDV8omD_1uz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AW3ydlYsaeE0KiZMp.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gMXP4.VK.TPv9zTE0n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VbAx_hJTVXjK_53X1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dt6WmT_roJgSRH7u1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NKrjnJu.ebZEp3VnkD9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mPngFlIxWCULQtuaYkf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sAquJnXlvc8seRSivhw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emhLjKWV1zU0aRbQr3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RlzC3kp82SV1uprmbD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lisXLACdk.XAFNx_csb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s1d53oRC9kCShr8Yaj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sgjcxM3O6stogufAau3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mSguOT.CJeRSNyEUsg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bfA2fTUpPXlMXYm0S5E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hcyUzsKqBaonVEJfpLw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UDZEPLVpMf49sEPp2xM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f_BpFkV2ssqYewisYp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yq9OFwK5QeFgdRRp5f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rfguOJ34IIc7KS6mzJ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oMuagcIJ5cURCbIPkjr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ekT6hktM8bcBum9Gsvs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RwvSorLcifd9j5w0aLE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PmbuachwxUm4bckIYTn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prEPm6Zz4q.Zc1LJT2L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890416-D95C-43B0-AC60-C88971DEA5B6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3E5EF3A-C15E-46B0-A7D7-512D7295551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782C3F-0F27-418F-915F-C8B694137E4B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0AE5A532-DC4D-4079-9E31-89E1596CB804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0DED1A89-D55A-4450-B969-44C1588A0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831</TotalTime>
  <Words>2538</Words>
  <Application>Microsoft Office PowerPoint</Application>
  <PresentationFormat>Широкоэкранный</PresentationFormat>
  <Paragraphs>777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Calibri</vt:lpstr>
      <vt:lpstr>Montserrat</vt:lpstr>
      <vt:lpstr>Open Sans</vt:lpstr>
      <vt:lpstr>Times New Roman</vt:lpstr>
      <vt:lpstr>Wingdings</vt:lpstr>
      <vt:lpstr>ERG</vt:lpstr>
      <vt:lpstr>Слайд think-cell</vt:lpstr>
      <vt:lpstr>Презентация PowerPoint</vt:lpstr>
      <vt:lpstr>Общие сведения </vt:lpstr>
      <vt:lpstr>Информация об исполнении утвержденной инвестиционной программы за 2025 год </vt:lpstr>
      <vt:lpstr>Информация о постатейном исполнении тарифной сметы на услугу по производству тепловой энергии за 2025 год (1 из 3)</vt:lpstr>
      <vt:lpstr>Информация о постатейном исполнении тарифной сметы на услугу по производству тепловой энергии за 2025 год (2 из 3)</vt:lpstr>
      <vt:lpstr>Информация о постатейном исполнении тарифной сметы на услугу по производству тепловой энергии за 2025 год (3 из 3)</vt:lpstr>
      <vt:lpstr>Информация о соблюдении показателей качества и надежности регулируемых услуг и достижении показателей эффективности деятельности за 2025 год</vt:lpstr>
      <vt:lpstr>Информация об основных финансово - экономических показателях по услуге производство тепловой энергии и об объемах предоставленных регулируемых услуг  </vt:lpstr>
      <vt:lpstr>Информация о проводимой работе с потребителями регулируемых услуг</vt:lpstr>
      <vt:lpstr>Информация о качестве предоставляемых регулируемых услуг</vt:lpstr>
      <vt:lpstr>Информация о перспективах деятельности (планы развития), в том числе возможных изменениях тарифов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Larisa Knigina</cp:lastModifiedBy>
  <cp:revision>1411</cp:revision>
  <cp:lastPrinted>2026-04-08T06:31:20Z</cp:lastPrinted>
  <dcterms:created xsi:type="dcterms:W3CDTF">2017-11-25T12:09:27Z</dcterms:created>
  <dcterms:modified xsi:type="dcterms:W3CDTF">2026-04-09T06:1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